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4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5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8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9.xml" ContentType="application/vnd.openxmlformats-officedocument.theme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0.xml" ContentType="application/vnd.openxmlformats-officedocument.theme+xml"/>
  <Override PartName="/ppt/slideLayouts/slideLayout136.xml" ContentType="application/vnd.openxmlformats-officedocument.presentationml.slideLayout+xml"/>
  <Override PartName="/ppt/theme/theme11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87" r:id="rId3"/>
    <p:sldMasterId id="2147483742" r:id="rId4"/>
    <p:sldMasterId id="2147483758" r:id="rId5"/>
    <p:sldMasterId id="2147483773" r:id="rId6"/>
    <p:sldMasterId id="2147483797" r:id="rId7"/>
    <p:sldMasterId id="2147483856" r:id="rId8"/>
    <p:sldMasterId id="2147483869" r:id="rId9"/>
    <p:sldMasterId id="2147483939" r:id="rId10"/>
    <p:sldMasterId id="2147483951" r:id="rId11"/>
    <p:sldMasterId id="2147483953" r:id="rId12"/>
  </p:sldMasterIdLst>
  <p:notesMasterIdLst>
    <p:notesMasterId r:id="rId39"/>
  </p:notesMasterIdLst>
  <p:sldIdLst>
    <p:sldId id="256" r:id="rId13"/>
    <p:sldId id="2134804805" r:id="rId14"/>
    <p:sldId id="2134804806" r:id="rId15"/>
    <p:sldId id="2009" r:id="rId16"/>
    <p:sldId id="2134804807" r:id="rId17"/>
    <p:sldId id="2134804787" r:id="rId18"/>
    <p:sldId id="6086" r:id="rId19"/>
    <p:sldId id="6087" r:id="rId20"/>
    <p:sldId id="2134804761" r:id="rId21"/>
    <p:sldId id="2134804725" r:id="rId22"/>
    <p:sldId id="310" r:id="rId23"/>
    <p:sldId id="311" r:id="rId24"/>
    <p:sldId id="312" r:id="rId25"/>
    <p:sldId id="317" r:id="rId26"/>
    <p:sldId id="2134804777" r:id="rId27"/>
    <p:sldId id="2134804803" r:id="rId28"/>
    <p:sldId id="272" r:id="rId29"/>
    <p:sldId id="273" r:id="rId30"/>
    <p:sldId id="283" r:id="rId31"/>
    <p:sldId id="281" r:id="rId32"/>
    <p:sldId id="330" r:id="rId33"/>
    <p:sldId id="2134804802" r:id="rId34"/>
    <p:sldId id="2134804798" r:id="rId35"/>
    <p:sldId id="2134804792" r:id="rId36"/>
    <p:sldId id="2134804794" r:id="rId37"/>
    <p:sldId id="2134804795" r:id="rId38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E1D992-2A9E-45A9-8171-266B8EA5CBBC}" v="1" dt="2024-05-12T19:23:52.18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23" d="100"/>
          <a:sy n="123" d="100"/>
        </p:scale>
        <p:origin x="114" y="2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F076BA-EBFE-4EDB-9C57-57F16BEE23FA}" type="datetimeFigureOut">
              <a:rPr lang="da-DK" smtClean="0"/>
              <a:t>07-06-2024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1A71F5-51CD-4F51-A0E1-BE165569C5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956364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474" name="Slide Image Placeholder 1">
            <a:extLst>
              <a:ext uri="{FF2B5EF4-FFF2-40B4-BE49-F238E27FC236}">
                <a16:creationId xmlns:a16="http://schemas.microsoft.com/office/drawing/2014/main" id="{B9C416E0-D4F2-4811-A2C8-C73B355A2E1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14338" y="723900"/>
            <a:ext cx="6440487" cy="3624263"/>
          </a:xfrm>
          <a:ln/>
        </p:spPr>
      </p:sp>
      <p:sp>
        <p:nvSpPr>
          <p:cNvPr id="489475" name="Notes Placeholder 2">
            <a:extLst>
              <a:ext uri="{FF2B5EF4-FFF2-40B4-BE49-F238E27FC236}">
                <a16:creationId xmlns:a16="http://schemas.microsoft.com/office/drawing/2014/main" id="{1ED1A246-9188-4C8D-8519-042D347BA3C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CA" altLang="da-DK"/>
          </a:p>
        </p:txBody>
      </p:sp>
      <p:sp>
        <p:nvSpPr>
          <p:cNvPr id="489476" name="Slide Number Placeholder 3">
            <a:extLst>
              <a:ext uri="{FF2B5EF4-FFF2-40B4-BE49-F238E27FC236}">
                <a16:creationId xmlns:a16="http://schemas.microsoft.com/office/drawing/2014/main" id="{6AB88F71-3E92-414D-91CB-AC25A689B4D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6156B7-212D-4193-BDB5-EF944822044E}" type="slidenum">
              <a:rPr kumimoji="0" lang="en-CA" altLang="da-DK" sz="9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 panose="020B0604030504040204" pitchFamily="34" charset="0"/>
                <a:ea typeface="+mn-ea"/>
                <a:cs typeface="+mn-cs"/>
              </a:rPr>
              <a:pPr marL="0" marR="0" lvl="0" indent="0" algn="r" defTabSz="9128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CA" altLang="da-DK" sz="900" b="0" i="0" u="none" strike="noStrike" kern="1200" cap="none" spc="0" normalizeH="0" baseline="0" noProof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 panose="020B0604030504040204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/>
          <p:cNvSpPr>
            <a:spLocks noGrp="1" noRot="1" noChangeAspect="1" noTextEdi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miter lim="800000"/>
          </a:ln>
        </p:spPr>
      </p:sp>
      <p:sp>
        <p:nvSpPr>
          <p:cNvPr id="6147" name="Notes Placeholder 2"/>
          <p:cNvSpPr>
            <a:spLocks noGrp="1"/>
          </p:cNvSpPr>
          <p:nvPr>
            <p:ph type="body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91440" tIns="45720" rIns="91440" bIns="45720" anchor="t" anchorCtr="0">
            <a:noAutofit/>
          </a:bodyPr>
          <a:lstStyle>
            <a:lvl1pPr marL="0" indent="0" algn="l" defTabSz="4572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200" b="0" i="0" u="none" baseline="0">
                <a:solidFill>
                  <a:schemeClr val="tx1"/>
                </a:solidFill>
                <a:effectLst/>
                <a:latin typeface="Calibri" pitchFamily="34" charset="0"/>
                <a:ea typeface="ＭＳ Ｐゴシック" pitchFamily="34" charset="-128"/>
              </a:defRPr>
            </a:lvl1pPr>
            <a:lvl2pPr marL="457200" indent="0" algn="l" defTabSz="4572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200" b="0" i="0" u="none" baseline="0">
                <a:solidFill>
                  <a:schemeClr val="tx1"/>
                </a:solidFill>
                <a:effectLst/>
                <a:latin typeface="Calibri" pitchFamily="34" charset="0"/>
                <a:ea typeface="ＭＳ Ｐゴシック" pitchFamily="34" charset="-128"/>
              </a:defRPr>
            </a:lvl2pPr>
            <a:lvl3pPr marL="914400" indent="0" algn="l" defTabSz="4572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200" b="0" i="0" u="none" baseline="0">
                <a:solidFill>
                  <a:schemeClr val="tx1"/>
                </a:solidFill>
                <a:effectLst/>
                <a:latin typeface="Calibri" pitchFamily="34" charset="0"/>
                <a:ea typeface="ＭＳ Ｐゴシック" pitchFamily="34" charset="-128"/>
              </a:defRPr>
            </a:lvl3pPr>
            <a:lvl4pPr marL="1371600" indent="0" algn="l" defTabSz="4572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200" b="0" i="0" u="none" baseline="0">
                <a:solidFill>
                  <a:schemeClr val="tx1"/>
                </a:solidFill>
                <a:effectLst/>
                <a:latin typeface="Calibri" pitchFamily="34" charset="0"/>
                <a:ea typeface="ＭＳ Ｐゴシック" pitchFamily="34" charset="-128"/>
              </a:defRPr>
            </a:lvl4pPr>
            <a:lvl5pPr marL="1828800" indent="0" algn="l" defTabSz="457200" rtl="0" eaLnBrk="0" fontAlgn="base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200" b="0" i="0" u="none" baseline="0">
                <a:solidFill>
                  <a:schemeClr val="tx1"/>
                </a:solidFill>
                <a:effectLst/>
                <a:latin typeface="Calibri" pitchFamily="34" charset="0"/>
                <a:ea typeface="ＭＳ Ｐゴシック" pitchFamily="34" charset="-128"/>
              </a:defRPr>
            </a:lvl5pPr>
          </a:lstStyle>
          <a:p>
            <a:pPr marL="0" lvl="0" indent="0"/>
            <a:r>
              <a:rPr lang="en-US" altLang="en-US" b="1">
                <a:latin typeface="Arial"/>
                <a:ea typeface="Arial"/>
              </a:rPr>
              <a:t>FIGURE 2: </a:t>
            </a:r>
            <a:r>
              <a:rPr lang="en-US" altLang="en-US">
                <a:latin typeface="Arial"/>
                <a:ea typeface="Arial"/>
              </a:rPr>
              <a:t>Actions of SGLT-2 inhibitors on the renal microcirculation in patients with DM. Under physiological conditions, SGLT-2 co-transporters reabsorb around 90% of the filtered glucose and relevant amounts of sodium, the macula densa is orchestrating normal tubulo-glomerular feedback and GFR is normal. In patients with DM, the number and activity of SGLT-2 co-trasporters are increased, thus the macula densa senses relatively lower sodium and chloride concentrations, leading to afferent arteriole vasodilation and hyperfiltration. Inhibition of SGLT-2 blocks proximal tubule glucose and sodium reabsorption, which leads to increased sodium and chloride delivery to the macula densa, restoration of normal tubulo-glomerular feedback and afferent vasoconstriction, which in turn reduces renal plasma flow and GFR.
</a:t>
            </a:r>
          </a:p>
          <a:p>
            <a:pPr marL="0" lvl="0" indent="0"/>
            <a:r>
              <a:rPr lang="en-US" altLang="en-US">
                <a:latin typeface="Arial"/>
                <a:ea typeface="Arial"/>
              </a:rPr>
              <a:t>Unless provided in the caption above, the following copyright applies to the content of this slide: © The Author(s) 2019. Published by Oxford University Press on behalf of ERA-EDTA. All rights reserved.This article is published and distributed under the terms of the Oxford University Press, Standard Journals Publication Model (https://academic.oup.com/journals/pages/open_access/funder_policies/chorus/standard_publication_model)</a:t>
            </a:r>
          </a:p>
        </p:txBody>
      </p:sp>
      <p:sp>
        <p:nvSpPr>
          <p:cNvPr id="6148" name="Slide Number Placeholder 3"/>
          <p:cNvSpPr>
            <a:spLocks noGrp="1"/>
          </p:cNvSpPr>
          <p:nvPr>
            <p:ph type="sldNum"/>
          </p:nvPr>
        </p:nvSpPr>
        <p:spPr>
          <a:xfrm>
            <a:off x="3884612" y="8685212"/>
            <a:ext cx="2971800" cy="4572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anchor="b" anchorCtr="0">
            <a:no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Arial"/>
                <a:ea typeface="ＭＳ Ｐゴシック" pitchFamily="34" charset="-128"/>
              </a:defRPr>
            </a:lvl1pPr>
            <a:lvl2pPr marL="4572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Arial"/>
                <a:ea typeface="ＭＳ Ｐゴシック" pitchFamily="34" charset="-128"/>
              </a:defRPr>
            </a:lvl2pPr>
            <a:lvl3pPr marL="9144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Arial"/>
                <a:ea typeface="ＭＳ Ｐゴシック" pitchFamily="34" charset="-128"/>
              </a:defRPr>
            </a:lvl3pPr>
            <a:lvl4pPr marL="13716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Arial"/>
                <a:ea typeface="ＭＳ Ｐゴシック" pitchFamily="34" charset="-128"/>
              </a:defRPr>
            </a:lvl4pPr>
            <a:lvl5pPr marL="182880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800" b="0" i="0" u="none" baseline="0">
                <a:solidFill>
                  <a:schemeClr val="tx1"/>
                </a:solidFill>
                <a:effectLst/>
                <a:latin typeface="Arial"/>
                <a:ea typeface="ＭＳ Ｐゴシック" pitchFamily="34" charset="-128"/>
              </a:defRPr>
            </a:lvl5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4595B28-87F8-46C7-A75F-E34AF4B6EB6E}" type="slidenum">
              <a:rPr kumimoji="0" lang="en-US" altLang="en-US" sz="12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pitchFamily="34" charset="-128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0436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6E89B1-B476-4C59-A1AE-E6F2A1941AB8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65777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87E6CD-EE1E-0C7D-61A2-2F7B9D9987B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2FD50B24-5DDE-87AC-13FC-A7B8941D4A3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6286895-D3B8-8C11-36DF-60E301F0C0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72B0E-C09B-4693-A89E-D34A74ECA21B}" type="datetimeFigureOut">
              <a:rPr lang="da-DK" smtClean="0"/>
              <a:t>07-06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EC885E8-BA62-A301-AEC3-C4A39FF7F0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E957454-13D6-02DE-BD13-29DC16C3C6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46BE7-77C3-4533-BF30-57BD74EFE84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748108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B21A59-BE62-F8FA-CE42-600FBB6196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D92A4E43-3F9F-D39D-39E8-AE9D4B5BF2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D72930A-259B-0AE3-EA2E-C04CA5C5E9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72B0E-C09B-4693-A89E-D34A74ECA21B}" type="datetimeFigureOut">
              <a:rPr lang="da-DK" smtClean="0"/>
              <a:t>07-06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F8545C7B-0CAE-95C0-92F0-70D3213063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EE8BC6D-5984-1F04-556B-DB2E7C962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46BE7-77C3-4533-BF30-57BD74EFE84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2665139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3712" y="2257200"/>
            <a:ext cx="5291362" cy="1179280"/>
          </a:xfrm>
          <a:prstGeom prst="rect">
            <a:avLst/>
          </a:prstGeom>
        </p:spPr>
        <p:txBody>
          <a:bodyPr lIns="90000" tIns="46800" rIns="90000" bIns="46800" anchor="b"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3713" y="3552379"/>
            <a:ext cx="5291361" cy="720000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>
              <a:spcBef>
                <a:spcPts val="1200"/>
              </a:spcBef>
              <a:buFont typeface="Arial" panose="020B0604020202020204" pitchFamily="34" charset="0"/>
              <a:buNone/>
              <a:defRPr sz="1600" b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284400" indent="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568800" indent="0">
              <a:spcBef>
                <a:spcPts val="300"/>
              </a:spcBef>
              <a:buClr>
                <a:schemeClr val="tx2"/>
              </a:buClr>
              <a:buNone/>
              <a:defRPr sz="1400">
                <a:solidFill>
                  <a:schemeClr val="bg1"/>
                </a:solidFill>
              </a:defRPr>
            </a:lvl3pPr>
            <a:lvl4pPr marL="853200" indent="-284400">
              <a:spcBef>
                <a:spcPts val="300"/>
              </a:spcBef>
              <a:buClr>
                <a:schemeClr val="tx2"/>
              </a:buClr>
              <a:defRPr sz="1400">
                <a:solidFill>
                  <a:schemeClr val="tx1"/>
                </a:solidFill>
              </a:defRPr>
            </a:lvl4pPr>
            <a:lvl5pPr marL="853200" indent="-284400">
              <a:spcBef>
                <a:spcPts val="300"/>
              </a:spcBef>
              <a:buClr>
                <a:schemeClr val="tx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altLang="en-US" noProof="0" dirty="0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9304A4B-ECAA-1946-A813-24D1F817933D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3712" y="3480025"/>
            <a:ext cx="529136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6EA4B2C-DFE1-8441-A417-84F334B385EC}"/>
              </a:ext>
            </a:extLst>
          </p:cNvPr>
          <p:cNvGrpSpPr/>
          <p:nvPr userDrawn="1"/>
        </p:nvGrpSpPr>
        <p:grpSpPr>
          <a:xfrm>
            <a:off x="295266" y="5736730"/>
            <a:ext cx="6890923" cy="915919"/>
            <a:chOff x="228545" y="5940390"/>
            <a:chExt cx="5864930" cy="779547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F04803E-1E43-6646-B919-32434399135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1631"/>
            <a:stretch/>
          </p:blipFill>
          <p:spPr>
            <a:xfrm>
              <a:off x="4991852" y="6033261"/>
              <a:ext cx="1101623" cy="593804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0C238CC-DEC6-934B-A089-4192CDE1D43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3167"/>
            <a:stretch/>
          </p:blipFill>
          <p:spPr>
            <a:xfrm>
              <a:off x="228545" y="6057803"/>
              <a:ext cx="2070163" cy="54472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7212A96-CC5F-7C49-8C1A-5317785BEA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alphaModFix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0000"/>
                      </a14:imgEffect>
                      <a14:imgEffect>
                        <a14:saturation sat="66000"/>
                      </a14:imgEffect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0549" y="5940390"/>
              <a:ext cx="1463359" cy="779547"/>
            </a:xfrm>
            <a:prstGeom prst="rect">
              <a:avLst/>
            </a:prstGeom>
          </p:spPr>
        </p:pic>
      </p:grp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9FD076A-083A-6342-B8FE-A486AEB33815}"/>
              </a:ext>
            </a:extLst>
          </p:cNvPr>
          <p:cNvCxnSpPr/>
          <p:nvPr userDrawn="1"/>
        </p:nvCxnSpPr>
        <p:spPr bwMode="auto">
          <a:xfrm>
            <a:off x="2926080" y="5870009"/>
            <a:ext cx="0" cy="649360"/>
          </a:xfrm>
          <a:prstGeom prst="line">
            <a:avLst/>
          </a:prstGeom>
          <a:solidFill>
            <a:schemeClr val="accent1"/>
          </a:solidFill>
          <a:ln w="25400" cap="flat" cmpd="sng" algn="ctr">
            <a:gradFill>
              <a:gsLst>
                <a:gs pos="0">
                  <a:schemeClr val="tx2">
                    <a:alpha val="0"/>
                  </a:schemeClr>
                </a:gs>
                <a:gs pos="52000">
                  <a:schemeClr val="tx2">
                    <a:alpha val="20000"/>
                  </a:schemeClr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94E9738-6938-CB4B-8567-18E9E69B687D}"/>
              </a:ext>
            </a:extLst>
          </p:cNvPr>
          <p:cNvCxnSpPr/>
          <p:nvPr userDrawn="1"/>
        </p:nvCxnSpPr>
        <p:spPr bwMode="auto">
          <a:xfrm>
            <a:off x="5389581" y="5870009"/>
            <a:ext cx="0" cy="649360"/>
          </a:xfrm>
          <a:prstGeom prst="line">
            <a:avLst/>
          </a:prstGeom>
          <a:solidFill>
            <a:schemeClr val="accent1"/>
          </a:solidFill>
          <a:ln w="25400" cap="flat" cmpd="sng" algn="ctr">
            <a:gradFill>
              <a:gsLst>
                <a:gs pos="0">
                  <a:schemeClr val="tx2">
                    <a:alpha val="0"/>
                  </a:schemeClr>
                </a:gs>
                <a:gs pos="52000">
                  <a:schemeClr val="tx2">
                    <a:alpha val="20000"/>
                  </a:schemeClr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581E62F3-2D42-1649-862C-9A797CA20414}"/>
              </a:ext>
            </a:extLst>
          </p:cNvPr>
          <p:cNvSpPr/>
          <p:nvPr userDrawn="1"/>
        </p:nvSpPr>
        <p:spPr bwMode="auto">
          <a:xfrm>
            <a:off x="10521246" y="1394178"/>
            <a:ext cx="1670754" cy="546382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E2CCD69-ABCF-884C-B5BC-BD348A7789DA}"/>
              </a:ext>
            </a:extLst>
          </p:cNvPr>
          <p:cNvSpPr/>
          <p:nvPr userDrawn="1"/>
        </p:nvSpPr>
        <p:spPr bwMode="auto">
          <a:xfrm>
            <a:off x="10521246" y="0"/>
            <a:ext cx="1670754" cy="139417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761181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D74C71D-EEE7-9C4C-8D72-062212521196}"/>
              </a:ext>
            </a:extLst>
          </p:cNvPr>
          <p:cNvSpPr/>
          <p:nvPr userDrawn="1"/>
        </p:nvSpPr>
        <p:spPr bwMode="auto">
          <a:xfrm>
            <a:off x="10521246" y="1394178"/>
            <a:ext cx="1670754" cy="546382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A6385C3-5BA8-4D47-A339-D702DD099091}"/>
              </a:ext>
            </a:extLst>
          </p:cNvPr>
          <p:cNvSpPr/>
          <p:nvPr userDrawn="1"/>
        </p:nvSpPr>
        <p:spPr bwMode="auto">
          <a:xfrm>
            <a:off x="10521246" y="0"/>
            <a:ext cx="1670754" cy="139417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3712" y="2257200"/>
            <a:ext cx="5291362" cy="1179280"/>
          </a:xfrm>
          <a:prstGeom prst="rect">
            <a:avLst/>
          </a:prstGeom>
        </p:spPr>
        <p:txBody>
          <a:bodyPr lIns="90000" tIns="46800" rIns="90000" bIns="46800" anchor="b"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edit divider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73713" y="3552379"/>
            <a:ext cx="5291361" cy="720000"/>
          </a:xfrm>
          <a:prstGeom prst="rect">
            <a:avLst/>
          </a:prstGeom>
        </p:spPr>
        <p:txBody>
          <a:bodyPr lIns="90000" tIns="46800" rIns="90000" bIns="46800"/>
          <a:lstStyle>
            <a:lvl1pPr marL="0" indent="0">
              <a:spcBef>
                <a:spcPts val="1200"/>
              </a:spcBef>
              <a:buFont typeface="Arial" panose="020B0604020202020204" pitchFamily="34" charset="0"/>
              <a:buNone/>
              <a:defRPr sz="1600" b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  <a:lvl2pPr marL="284400" indent="0"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568800" indent="0">
              <a:spcBef>
                <a:spcPts val="300"/>
              </a:spcBef>
              <a:buClr>
                <a:schemeClr val="tx2"/>
              </a:buClr>
              <a:buNone/>
              <a:defRPr sz="1400">
                <a:solidFill>
                  <a:schemeClr val="bg1"/>
                </a:solidFill>
              </a:defRPr>
            </a:lvl3pPr>
            <a:lvl4pPr marL="853200" indent="-284400">
              <a:spcBef>
                <a:spcPts val="300"/>
              </a:spcBef>
              <a:buClr>
                <a:schemeClr val="tx2"/>
              </a:buClr>
              <a:defRPr sz="1400">
                <a:solidFill>
                  <a:schemeClr val="tx1"/>
                </a:solidFill>
              </a:defRPr>
            </a:lvl4pPr>
            <a:lvl5pPr marL="853200" indent="-284400">
              <a:spcBef>
                <a:spcPts val="300"/>
              </a:spcBef>
              <a:buClr>
                <a:schemeClr val="tx2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altLang="en-US" noProof="0" dirty="0"/>
              <a:t>Click to edit Master text styl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9304A4B-ECAA-1946-A813-24D1F817933D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73712" y="3480025"/>
            <a:ext cx="529136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3B9F1CC1-2951-2441-8105-7B143A392D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654" y="851862"/>
            <a:ext cx="1462748" cy="443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22743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6EF9AFF-506A-9545-8B77-2588443DA60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15900" y="1254897"/>
            <a:ext cx="11758900" cy="4744251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2000"/>
            </a:lvl1pPr>
            <a:lvl2pPr>
              <a:spcBef>
                <a:spcPts val="0"/>
              </a:spcBef>
              <a:spcAft>
                <a:spcPts val="600"/>
              </a:spcAft>
              <a:defRPr/>
            </a:lvl2pPr>
            <a:lvl3pPr marL="540000">
              <a:spcAft>
                <a:spcPts val="600"/>
              </a:spcAft>
              <a:defRPr/>
            </a:lvl3pPr>
            <a:lvl4pPr marL="720000">
              <a:spcAft>
                <a:spcPts val="600"/>
              </a:spcAft>
              <a:defRPr sz="1400"/>
            </a:lvl4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6601334-13B9-604C-8F8F-DE0CB38432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6000" y="299726"/>
            <a:ext cx="11758800" cy="88627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90000"/>
              </a:lnSpc>
              <a:buNone/>
              <a:defRPr sz="2800" b="1"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Edit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5D3393-789F-3C40-9916-CA3F93A1AD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001" y="6068041"/>
            <a:ext cx="9996636" cy="71337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Footnote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F3C38A-9C77-E447-A4E5-AAECA079922F}"/>
              </a:ext>
            </a:extLst>
          </p:cNvPr>
          <p:cNvSpPr/>
          <p:nvPr userDrawn="1"/>
        </p:nvSpPr>
        <p:spPr bwMode="auto">
          <a:xfrm>
            <a:off x="12041435" y="1394178"/>
            <a:ext cx="150566" cy="546382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22CDE6B-6624-A444-9278-47CAAFC6D56C}"/>
              </a:ext>
            </a:extLst>
          </p:cNvPr>
          <p:cNvSpPr/>
          <p:nvPr userDrawn="1"/>
        </p:nvSpPr>
        <p:spPr bwMode="auto">
          <a:xfrm>
            <a:off x="12041435" y="0"/>
            <a:ext cx="150566" cy="139417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0DA9469-0D66-F241-A339-7406AE719A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167"/>
          <a:stretch/>
        </p:blipFill>
        <p:spPr>
          <a:xfrm>
            <a:off x="10292796" y="6177609"/>
            <a:ext cx="1703483" cy="448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24415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colum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981434C9-17CF-ED48-9CA1-FE88DCF4CD6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215900" y="1254897"/>
            <a:ext cx="5760100" cy="4744251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2000"/>
            </a:lvl1pPr>
            <a:lvl2pPr>
              <a:spcBef>
                <a:spcPts val="0"/>
              </a:spcBef>
              <a:spcAft>
                <a:spcPts val="600"/>
              </a:spcAft>
              <a:defRPr/>
            </a:lvl2pPr>
            <a:lvl3pPr marL="540000">
              <a:spcAft>
                <a:spcPts val="600"/>
              </a:spcAft>
              <a:defRPr/>
            </a:lvl3pPr>
            <a:lvl4pPr marL="720000">
              <a:spcAft>
                <a:spcPts val="600"/>
              </a:spcAft>
              <a:defRPr sz="1400"/>
            </a:lvl4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6601334-13B9-604C-8F8F-DE0CB38432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5999" y="299726"/>
            <a:ext cx="11757599" cy="88627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90000"/>
              </a:lnSpc>
              <a:buNone/>
              <a:defRPr sz="2800" b="1">
                <a:solidFill>
                  <a:schemeClr val="tx2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Edit titl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427F131-D596-5643-871D-4F2047AF097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001" y="6068041"/>
            <a:ext cx="9996636" cy="71337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Footnot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E4DA7B7-D2E0-8C4F-8F8E-5D951BA623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167"/>
          <a:stretch/>
        </p:blipFill>
        <p:spPr>
          <a:xfrm>
            <a:off x="10292796" y="6177609"/>
            <a:ext cx="1703483" cy="44823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C9E0364-C69E-B441-B1E1-522FE6D0BBA3}"/>
              </a:ext>
            </a:extLst>
          </p:cNvPr>
          <p:cNvSpPr/>
          <p:nvPr userDrawn="1"/>
        </p:nvSpPr>
        <p:spPr bwMode="auto">
          <a:xfrm>
            <a:off x="12041435" y="1394178"/>
            <a:ext cx="150566" cy="546382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9FCC82A-8C9D-424F-8A2B-AA0AC1FBF4C0}"/>
              </a:ext>
            </a:extLst>
          </p:cNvPr>
          <p:cNvSpPr/>
          <p:nvPr userDrawn="1"/>
        </p:nvSpPr>
        <p:spPr bwMode="auto">
          <a:xfrm>
            <a:off x="12041435" y="0"/>
            <a:ext cx="150566" cy="139417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C2FCA03-0C23-6B41-A195-BAC5C4691B13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13498" y="1254897"/>
            <a:ext cx="5760100" cy="4744251"/>
          </a:xfrm>
          <a:prstGeom prst="rect">
            <a:avLst/>
          </a:prstGeom>
        </p:spPr>
        <p:txBody>
          <a:bodyPr/>
          <a:lstStyle>
            <a:lvl1pPr>
              <a:spcAft>
                <a:spcPts val="600"/>
              </a:spcAft>
              <a:defRPr sz="2000"/>
            </a:lvl1pPr>
            <a:lvl2pPr>
              <a:spcBef>
                <a:spcPts val="0"/>
              </a:spcBef>
              <a:spcAft>
                <a:spcPts val="600"/>
              </a:spcAft>
              <a:defRPr/>
            </a:lvl2pPr>
            <a:lvl3pPr marL="540000">
              <a:spcAft>
                <a:spcPts val="600"/>
              </a:spcAft>
              <a:defRPr/>
            </a:lvl3pPr>
            <a:lvl4pPr marL="720000">
              <a:spcAft>
                <a:spcPts val="600"/>
              </a:spcAft>
              <a:defRPr sz="1400"/>
            </a:lvl4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1436307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46601334-13B9-604C-8F8F-DE0CB384326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5999" y="299726"/>
            <a:ext cx="11757599" cy="886278"/>
          </a:xfrm>
          <a:prstGeom prst="rect">
            <a:avLst/>
          </a:prstGeom>
        </p:spPr>
        <p:txBody>
          <a:bodyPr anchor="t"/>
          <a:lstStyle>
            <a:lvl1pPr marL="0" indent="0" algn="l">
              <a:lnSpc>
                <a:spcPct val="90000"/>
              </a:lnSpc>
              <a:buNone/>
              <a:defRPr sz="2800" b="1">
                <a:solidFill>
                  <a:schemeClr val="tx2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Edit titl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3002F27B-F9C8-9F46-9EED-0F3F25E093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001" y="6068041"/>
            <a:ext cx="9996636" cy="71337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/>
              <a:t>Footnote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EAE8C68-F7F2-674E-A0FB-28521D5A11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167"/>
          <a:stretch/>
        </p:blipFill>
        <p:spPr>
          <a:xfrm>
            <a:off x="10292796" y="6177609"/>
            <a:ext cx="1703483" cy="4482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D859DF1-88CA-CC43-9A4E-73C62371B0BA}"/>
              </a:ext>
            </a:extLst>
          </p:cNvPr>
          <p:cNvSpPr/>
          <p:nvPr userDrawn="1"/>
        </p:nvSpPr>
        <p:spPr bwMode="auto">
          <a:xfrm>
            <a:off x="12041435" y="1394178"/>
            <a:ext cx="150566" cy="546382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D5C582E-C902-5C4B-A203-D825CE5D0E32}"/>
              </a:ext>
            </a:extLst>
          </p:cNvPr>
          <p:cNvSpPr/>
          <p:nvPr userDrawn="1"/>
        </p:nvSpPr>
        <p:spPr bwMode="auto">
          <a:xfrm>
            <a:off x="12041435" y="0"/>
            <a:ext cx="150566" cy="139417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800" b="1" i="0" u="none" strike="noStrike" cap="none" normalizeH="0" baseline="0" dirty="0" err="1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042499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ECA78A-470B-8845-B276-CBD3D521F2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04544" y="1600199"/>
            <a:ext cx="9144000" cy="1909763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4DBAB40-075F-8340-BBFA-CBE169E472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04544" y="3602038"/>
            <a:ext cx="9144000" cy="1201911"/>
          </a:xfrm>
        </p:spPr>
        <p:txBody>
          <a:bodyPr>
            <a:noAutofit/>
          </a:bodyPr>
          <a:lstStyle>
            <a:lvl1pPr marL="0" indent="0" algn="l">
              <a:buNone/>
              <a:defRPr sz="3200" b="1">
                <a:solidFill>
                  <a:srgbClr val="91278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E9EACC-ACF7-4FC7-93F2-9ED087C636BF}"/>
              </a:ext>
            </a:extLst>
          </p:cNvPr>
          <p:cNvSpPr/>
          <p:nvPr userDrawn="1"/>
        </p:nvSpPr>
        <p:spPr>
          <a:xfrm>
            <a:off x="1323704" y="983411"/>
            <a:ext cx="1341858" cy="524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CB8784D-C391-4117-9826-A994EA0F2F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04544" y="4808587"/>
            <a:ext cx="9163431" cy="1022350"/>
          </a:xfrm>
        </p:spPr>
        <p:txBody>
          <a:bodyPr>
            <a:noAutofit/>
          </a:bodyPr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04896E-53A5-4129-AF51-14D597C6505F}"/>
              </a:ext>
            </a:extLst>
          </p:cNvPr>
          <p:cNvSpPr/>
          <p:nvPr userDrawn="1"/>
        </p:nvSpPr>
        <p:spPr>
          <a:xfrm>
            <a:off x="0" y="6156960"/>
            <a:ext cx="12192000" cy="701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rgbClr val="515151"/>
                </a:solidFill>
              </a:rPr>
              <a:t>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B4EBE51-5455-4109-94D3-6664683F7ED8}"/>
              </a:ext>
            </a:extLst>
          </p:cNvPr>
          <p:cNvCxnSpPr>
            <a:cxnSpLocks/>
          </p:cNvCxnSpPr>
          <p:nvPr userDrawn="1"/>
        </p:nvCxnSpPr>
        <p:spPr>
          <a:xfrm>
            <a:off x="0" y="6152321"/>
            <a:ext cx="12192000" cy="0"/>
          </a:xfrm>
          <a:prstGeom prst="line">
            <a:avLst/>
          </a:prstGeom>
          <a:ln>
            <a:solidFill>
              <a:srgbClr val="5151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437220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166252"/>
            <a:ext cx="10671048" cy="1019693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E954D74-3C07-4BE4-AB01-4BDA8823C4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34060"/>
            <a:ext cx="10671048" cy="611473"/>
          </a:xfrm>
        </p:spPr>
        <p:txBody>
          <a:bodyPr/>
          <a:lstStyle>
            <a:lvl1pPr marL="0" indent="0">
              <a:buNone/>
              <a:defRPr b="1">
                <a:solidFill>
                  <a:srgbClr val="91278F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  <a:endParaRPr lang="en-GB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A63B8F0-7442-49E7-ACD7-3206E333B2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9127" y="6318000"/>
            <a:ext cx="10721526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004AD1-1E40-4EA3-8728-D80541F95A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0" y="6411600"/>
            <a:ext cx="415657" cy="275772"/>
          </a:xfrm>
          <a:prstGeom prst="rect">
            <a:avLst/>
          </a:prstGeom>
        </p:spPr>
        <p:txBody>
          <a:bodyPr rIns="0" anchor="b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B687C26E-76E8-F74A-ABD7-29242BE2C25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970970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C7CD7F-033B-D241-B61B-15A9AC703F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6" y="166252"/>
            <a:ext cx="10671048" cy="102412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F50CA9-06F6-D64B-83F0-53FFB22B55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648" y="1371600"/>
            <a:ext cx="10668005" cy="4584334"/>
          </a:xfrm>
        </p:spPr>
        <p:txBody>
          <a:bodyPr/>
          <a:lstStyle>
            <a:lvl1pPr>
              <a:buClr>
                <a:schemeClr val="accent2"/>
              </a:buClr>
              <a:defRPr/>
            </a:lvl1pPr>
            <a:lvl2pPr marL="601200" indent="-363600">
              <a:buClr>
                <a:schemeClr val="accent2"/>
              </a:buClr>
              <a:buFont typeface="Calibri" panose="020F0502020204030204" pitchFamily="34" charset="0"/>
              <a:buChar char="‒"/>
              <a:defRPr/>
            </a:lvl2pPr>
            <a:lvl3pPr>
              <a:buClr>
                <a:schemeClr val="accent2"/>
              </a:buClr>
              <a:defRPr/>
            </a:lvl3pPr>
            <a:lvl4pPr marL="1195200" indent="-356400">
              <a:buClr>
                <a:schemeClr val="accent2"/>
              </a:buClr>
              <a:buFont typeface="Calibri" panose="020F0502020204030204" pitchFamily="34" charset="0"/>
              <a:buChar char="‒"/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A9D9D13A-61A0-473E-AC92-D674805E47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9127" y="6318000"/>
            <a:ext cx="10721526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AA0BABF-2430-4951-ACCE-C28BCF9C2A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0" y="6411600"/>
            <a:ext cx="415657" cy="275772"/>
          </a:xfrm>
          <a:prstGeom prst="rect">
            <a:avLst/>
          </a:prstGeom>
        </p:spPr>
        <p:txBody>
          <a:bodyPr rIns="0" anchor="b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B687C26E-76E8-F74A-ABD7-29242BE2C25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715430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E49C91-ACFE-114C-8BD6-64D3D1F7D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164592"/>
            <a:ext cx="10671048" cy="1019693"/>
          </a:xfrm>
          <a:prstGeom prst="rect">
            <a:avLst/>
          </a:prstGeo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86CCE5C1-F59D-4CB2-9068-B9547F1DC4E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9127" y="6318000"/>
            <a:ext cx="10721526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97346C9-18C7-4811-A257-C83685F4B0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000" y="6411600"/>
            <a:ext cx="415657" cy="275772"/>
          </a:xfrm>
          <a:prstGeom prst="rect">
            <a:avLst/>
          </a:prstGeom>
        </p:spPr>
        <p:txBody>
          <a:bodyPr rIns="0" anchor="b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B687C26E-76E8-F74A-ABD7-29242BE2C25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06975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F50CA9-06F6-D64B-83F0-53FFB22B55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648" y="1371600"/>
            <a:ext cx="10668005" cy="458433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000"/>
            </a:lvl1pPr>
            <a:lvl2pPr marL="576263" indent="-228600">
              <a:spcBef>
                <a:spcPts val="400"/>
              </a:spcBef>
              <a:buClr>
                <a:schemeClr val="accent2"/>
              </a:buClr>
              <a:buFont typeface="Calibri" panose="020F0502020204030204" pitchFamily="34" charset="0"/>
              <a:buChar char="‒"/>
              <a:defRPr sz="1800"/>
            </a:lvl2pPr>
            <a:lvl3pPr marL="914400" indent="-228600"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600"/>
            </a:lvl3pPr>
            <a:lvl4pPr marL="1262063" indent="-228600">
              <a:spcBef>
                <a:spcPts val="400"/>
              </a:spcBef>
              <a:buClr>
                <a:schemeClr val="accent2"/>
              </a:buClr>
              <a:buFont typeface="Century Gothic" panose="020B0502020202020204" pitchFamily="34" charset="0"/>
              <a:buChar char="»"/>
              <a:defRPr sz="1400"/>
            </a:lvl4pPr>
            <a:lvl5pPr marL="1600200" indent="-228600"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Ø"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B1D69C-2B68-4244-970B-F259A62738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13274" y="6415923"/>
            <a:ext cx="10539735" cy="336450"/>
          </a:xfrm>
        </p:spPr>
        <p:txBody>
          <a:bodyPr/>
          <a:lstStyle/>
          <a:p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6B4A1D5-57E6-401D-B109-A4B3B1D63A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60723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459BFBE9-062C-ED8E-C6FA-34F3ECF1453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4C9B6831-D2EF-8DA0-6B03-460A34D7E6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7D961C3-A581-1A6C-1BB5-54E16B422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72B0E-C09B-4693-A89E-D34A74ECA21B}" type="datetimeFigureOut">
              <a:rPr lang="da-DK" smtClean="0"/>
              <a:t>07-06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B44FA34-BA70-4C15-84B4-BCA661E25A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F5460FE-BEA8-4817-1CD2-701B2EB33C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46BE7-77C3-4533-BF30-57BD74EFE84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8982027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A89554-ECC2-4CC0-9392-DAFBCBE55E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95079248-4AE3-47B2-BA28-671CD20319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D9A61E9-B273-499E-958C-30AE8FB46E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3DD514-46D2-4421-92A8-5BD3F6AE0FA5}" type="datetime1">
              <a:rPr lang="da-DK" smtClean="0"/>
              <a:t>07-06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125291B-1335-4DDB-B234-E6DEDACA8B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E638E17-4992-439F-8348-A863EDAC4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F3BF9B-95CA-4A09-A509-89277053147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485970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578974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769DA5-0B5E-4A00-99D8-C80CBED6A59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4DBAC4A-9519-4DC9-8D58-BE36521914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145DE1-5278-45B6-A758-AD413D624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7634E-E6C9-4819-A148-008761A2E3D3}" type="datetimeFigureOut">
              <a:rPr lang="en-GB" smtClean="0"/>
              <a:t>07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6546C7-45E6-4553-97DF-F42970A0A8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D01DE60-2ACF-4C7F-A35B-0645D4CAF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D6A2D-CAF5-49AD-8E5E-E20112576B8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739497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BFECCC-49B3-4FBC-900A-E46CA0FA2F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F5D553-CA6E-4515-AC4B-1B4C1EA8D8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485064-799D-4B2A-A906-56C6BD59C7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7634E-E6C9-4819-A148-008761A2E3D3}" type="datetimeFigureOut">
              <a:rPr lang="en-GB" smtClean="0"/>
              <a:t>07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4BF2EC-B746-4BD7-9CAF-8A8E02072F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1D6443-70E7-4DEA-A7BE-A38B12C654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D6A2D-CAF5-49AD-8E5E-E20112576B8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00692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034B16-42F9-421F-BEE2-57FD88E932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9B2793-30D4-42C1-9463-E8615ABD72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89D76E-D7AA-4DCB-A05C-197F6052A3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7634E-E6C9-4819-A148-008761A2E3D3}" type="datetimeFigureOut">
              <a:rPr lang="en-GB" smtClean="0"/>
              <a:t>07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0E8D4B-FD5D-439F-B6C9-1151D723A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AD6566-6009-4323-A070-976390AA02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D6A2D-CAF5-49AD-8E5E-E20112576B8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59576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A6BC15-5AA1-4788-AB78-A067F79F5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93EEC3-CE9E-41B8-AF6F-36BDCDD2539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C686C7-CA9E-4A4A-9A0F-C7F6A996E7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9EF4B5-D094-4565-A2E2-B36219272B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7634E-E6C9-4819-A148-008761A2E3D3}" type="datetimeFigureOut">
              <a:rPr lang="en-GB" smtClean="0"/>
              <a:t>07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9B83C62-DF45-4D77-AB97-B3C0ED69CF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8D2FD4-F09F-4015-B440-3ABC1CBE0F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D6A2D-CAF5-49AD-8E5E-E20112576B8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085621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EA26DC-FF9D-4C17-BA30-2747FDB6E6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BAA4C5-F056-4644-BABB-F30B34F40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2B0FBD-166B-4974-8273-3E3A8D798D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D8E53E4-51AF-44A7-94D6-496C147631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F8939D3-4A76-411D-A32C-B3A3152E7BF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3E6C836-59E5-4671-BD96-77576CA186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7634E-E6C9-4819-A148-008761A2E3D3}" type="datetimeFigureOut">
              <a:rPr lang="en-GB" smtClean="0"/>
              <a:t>07/06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ADA126-31D6-4851-AF0D-52A829FE8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329CFB-D418-4D2A-8BB9-7F7C03D70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D6A2D-CAF5-49AD-8E5E-E20112576B8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855442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FA2D1-C35A-45DE-A95A-E2180375DB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2EBF340-14E8-40F1-A4AA-B1FFDBB87E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7634E-E6C9-4819-A148-008761A2E3D3}" type="datetimeFigureOut">
              <a:rPr lang="en-GB" smtClean="0"/>
              <a:t>07/06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BEEEBA6-FCE3-4608-AA65-F740372043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7A16997-FC6B-46E7-A208-61F8510A75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D6A2D-CAF5-49AD-8E5E-E20112576B8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622657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3AFB60E-4E9C-4B49-8295-52A57BB271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7634E-E6C9-4819-A148-008761A2E3D3}" type="datetimeFigureOut">
              <a:rPr lang="en-GB" smtClean="0"/>
              <a:t>07/06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CF0C25-CFB5-4F15-942A-39D25F0AB8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CDA331-719B-47B4-85E4-E1EE63E8C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D6A2D-CAF5-49AD-8E5E-E20112576B8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771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B41485-CEC4-4EFC-BE75-C0A565B411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AEF35E-F563-4713-93B9-E53B896ED9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380CF31-2541-4176-B32C-5C5608C6A7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FB6878-9A84-4F42-BEFF-DAC812202E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7634E-E6C9-4819-A148-008761A2E3D3}" type="datetimeFigureOut">
              <a:rPr lang="en-GB" smtClean="0"/>
              <a:t>07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86014-1F7B-4ED9-AB25-4FD303F51E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9B91EB-8864-4D43-BC2A-D4F762DD35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D6A2D-CAF5-49AD-8E5E-E20112576B8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9085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86F283-8BBB-44E4-8B0B-B250D7B04C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DE4CBD80-4DAA-46D7-B335-19785B272F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55195BE-4356-48AB-AC66-DB25B5115C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438AD-D1D5-486C-BD2E-A2F7E55E93BD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3025D04-760A-4F06-9FD4-6013F30ED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2FC8135-133D-42A3-9292-1CFD36AFD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5F7FE-9889-4C1A-96EF-97C893BCEB5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9082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F85C7E-6003-47C1-8D75-21C0AE3F09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3FC565C-5AE6-4579-9B0B-A3C5B9F7CB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1EA61A-F5CC-4E2E-8429-26B633AE60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F81EB6-37D4-40C4-8187-56BC1F0C25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7634E-E6C9-4819-A148-008761A2E3D3}" type="datetimeFigureOut">
              <a:rPr lang="en-GB" smtClean="0"/>
              <a:t>07/06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62A37B-3FED-40C4-887B-9D3D57D88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314BED-B676-4363-973A-257961BA30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D6A2D-CAF5-49AD-8E5E-E20112576B8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455528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1B8CA4-2901-4288-98A3-41D671E384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1B5791-B992-4B0B-8D6E-BBACD7C2DA4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8650D7-6E79-4D59-B519-AD866CEC0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7634E-E6C9-4819-A148-008761A2E3D3}" type="datetimeFigureOut">
              <a:rPr lang="en-GB" smtClean="0"/>
              <a:t>07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ACB07F-683B-4CCA-B650-C1041D327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F37491-FB44-4315-A3F0-08C11BDAC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D6A2D-CAF5-49AD-8E5E-E20112576B8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641487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EAC1F1F-EA09-4B5D-82AA-3B2C9CDFF3A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E7BAB94-634B-4135-933F-AEBCB54CB5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CCACB9-F98F-43D9-B756-3299EEE196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7634E-E6C9-4819-A148-008761A2E3D3}" type="datetimeFigureOut">
              <a:rPr lang="en-GB" smtClean="0"/>
              <a:t>07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BCC452-FEBC-4670-BC98-EDF7FDB54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184143-0F66-44E3-BDB8-6FB5D70785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5D6A2D-CAF5-49AD-8E5E-E20112576B8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488252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587393-F943-40A5-B30A-7A23D27DB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92CC019-B07F-42F2-8AD9-7DEE0359D8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838739" y="6211986"/>
            <a:ext cx="9054547" cy="34611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3D725F-C8D4-43B7-83D4-C887FA6E5F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18069" y="6354620"/>
            <a:ext cx="324000" cy="12585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A811B-2EBD-4900-905E-5BE206449611}" type="slidenum">
              <a:rPr kumimoji="0" lang="en-GB" sz="7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GB" sz="700" b="0" i="0" u="none" strike="noStrike" kern="1200" cap="none" spc="0" normalizeH="0" baseline="0" noProof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1AB15267-87FA-4849-9D4B-A89C488922F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47700" y="2148170"/>
            <a:ext cx="10915683" cy="3890806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1FB4EB7-A8F4-4890-B544-9C369AA842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7700" y="1673225"/>
            <a:ext cx="10895013" cy="4746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283076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.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48000" y="1944000"/>
            <a:ext cx="10896000" cy="426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add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CF82791-4F8E-4072-A90B-7DDBA5BDDD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7-Apr-2021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0F7B92D-8DE2-4AAE-9F57-625CFD54A0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ro to clinical nephrology 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1B1983-58ED-417B-836C-01C783DF99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t>‹nr.›</a:t>
            </a:fld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6868FC-B7DE-4736-A8C4-5762DBFD1FC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7999" y="6210000"/>
            <a:ext cx="10896301" cy="3240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900"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Insert notes</a:t>
            </a:r>
          </a:p>
        </p:txBody>
      </p:sp>
    </p:spTree>
    <p:extLst>
      <p:ext uri="{BB962C8B-B14F-4D97-AF65-F5344CB8AC3E}">
        <p14:creationId xmlns:p14="http://schemas.microsoft.com/office/powerpoint/2010/main" val="84723693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>
            <a:extLst>
              <a:ext uri="{FF2B5EF4-FFF2-40B4-BE49-F238E27FC236}">
                <a16:creationId xmlns:a16="http://schemas.microsoft.com/office/drawing/2014/main" id="{B6C91EE9-BB16-406E-942B-5CE46A9218F4}"/>
              </a:ext>
            </a:extLst>
          </p:cNvPr>
          <p:cNvGrpSpPr>
            <a:grpSpLocks/>
          </p:cNvGrpSpPr>
          <p:nvPr/>
        </p:nvGrpSpPr>
        <p:grpSpPr bwMode="auto">
          <a:xfrm>
            <a:off x="0" y="1"/>
            <a:ext cx="12192000" cy="6856413"/>
            <a:chOff x="0" y="0"/>
            <a:chExt cx="5760" cy="4319"/>
          </a:xfrm>
        </p:grpSpPr>
        <p:sp>
          <p:nvSpPr>
            <p:cNvPr id="5" name="Freeform 3">
              <a:extLst>
                <a:ext uri="{FF2B5EF4-FFF2-40B4-BE49-F238E27FC236}">
                  <a16:creationId xmlns:a16="http://schemas.microsoft.com/office/drawing/2014/main" id="{B7371CF2-4D0C-48C0-985D-A6E3BF365DA7}"/>
                </a:ext>
              </a:extLst>
            </p:cNvPr>
            <p:cNvSpPr>
              <a:spLocks/>
            </p:cNvSpPr>
            <p:nvPr/>
          </p:nvSpPr>
          <p:spPr bwMode="hidden">
            <a:xfrm>
              <a:off x="0" y="12"/>
              <a:ext cx="5758" cy="3273"/>
            </a:xfrm>
            <a:custGeom>
              <a:avLst/>
              <a:gdLst>
                <a:gd name="T0" fmla="*/ 3193 w 5740"/>
                <a:gd name="T1" fmla="*/ 1816 h 3273"/>
                <a:gd name="T2" fmla="*/ 0 w 5740"/>
                <a:gd name="T3" fmla="*/ 0 h 3273"/>
                <a:gd name="T4" fmla="*/ 0 w 5740"/>
                <a:gd name="T5" fmla="*/ 522 h 3273"/>
                <a:gd name="T6" fmla="*/ 3037 w 5740"/>
                <a:gd name="T7" fmla="*/ 1978 h 3273"/>
                <a:gd name="T8" fmla="*/ 5740 w 5740"/>
                <a:gd name="T9" fmla="*/ 3273 h 3273"/>
                <a:gd name="T10" fmla="*/ 5740 w 5740"/>
                <a:gd name="T11" fmla="*/ 3267 h 3273"/>
                <a:gd name="T12" fmla="*/ 3193 w 5740"/>
                <a:gd name="T13" fmla="*/ 1816 h 3273"/>
                <a:gd name="T14" fmla="*/ 3193 w 5740"/>
                <a:gd name="T15" fmla="*/ 1816 h 3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40" h="3273">
                  <a:moveTo>
                    <a:pt x="3193" y="1816"/>
                  </a:moveTo>
                  <a:lnTo>
                    <a:pt x="0" y="0"/>
                  </a:lnTo>
                  <a:lnTo>
                    <a:pt x="0" y="522"/>
                  </a:lnTo>
                  <a:lnTo>
                    <a:pt x="3037" y="1978"/>
                  </a:lnTo>
                  <a:lnTo>
                    <a:pt x="5740" y="3273"/>
                  </a:lnTo>
                  <a:lnTo>
                    <a:pt x="5740" y="3267"/>
                  </a:lnTo>
                  <a:lnTo>
                    <a:pt x="3193" y="1816"/>
                  </a:lnTo>
                  <a:lnTo>
                    <a:pt x="3193" y="181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3529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B4A2EAFD-F751-4A2F-8CC8-A307B84B648A}"/>
                </a:ext>
              </a:extLst>
            </p:cNvPr>
            <p:cNvSpPr>
              <a:spLocks/>
            </p:cNvSpPr>
            <p:nvPr/>
          </p:nvSpPr>
          <p:spPr bwMode="hidden">
            <a:xfrm>
              <a:off x="149" y="0"/>
              <a:ext cx="5609" cy="3243"/>
            </a:xfrm>
            <a:custGeom>
              <a:avLst/>
              <a:gdLst>
                <a:gd name="T0" fmla="*/ 3163 w 5591"/>
                <a:gd name="T1" fmla="*/ 1714 h 3243"/>
                <a:gd name="T2" fmla="*/ 431 w 5591"/>
                <a:gd name="T3" fmla="*/ 0 h 3243"/>
                <a:gd name="T4" fmla="*/ 0 w 5591"/>
                <a:gd name="T5" fmla="*/ 0 h 3243"/>
                <a:gd name="T6" fmla="*/ 3086 w 5591"/>
                <a:gd name="T7" fmla="*/ 1786 h 3243"/>
                <a:gd name="T8" fmla="*/ 5591 w 5591"/>
                <a:gd name="T9" fmla="*/ 3243 h 3243"/>
                <a:gd name="T10" fmla="*/ 5591 w 5591"/>
                <a:gd name="T11" fmla="*/ 3237 h 3243"/>
                <a:gd name="T12" fmla="*/ 3163 w 5591"/>
                <a:gd name="T13" fmla="*/ 1714 h 3243"/>
                <a:gd name="T14" fmla="*/ 3163 w 5591"/>
                <a:gd name="T15" fmla="*/ 1714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91" h="3243">
                  <a:moveTo>
                    <a:pt x="3163" y="1714"/>
                  </a:moveTo>
                  <a:lnTo>
                    <a:pt x="431" y="0"/>
                  </a:lnTo>
                  <a:lnTo>
                    <a:pt x="0" y="0"/>
                  </a:lnTo>
                  <a:lnTo>
                    <a:pt x="3086" y="1786"/>
                  </a:lnTo>
                  <a:lnTo>
                    <a:pt x="5591" y="3243"/>
                  </a:lnTo>
                  <a:lnTo>
                    <a:pt x="5591" y="3237"/>
                  </a:lnTo>
                  <a:lnTo>
                    <a:pt x="3163" y="1714"/>
                  </a:lnTo>
                  <a:lnTo>
                    <a:pt x="3163" y="1714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1C38798-D92E-427C-985E-65FAB7929642}"/>
                </a:ext>
              </a:extLst>
            </p:cNvPr>
            <p:cNvSpPr>
              <a:spLocks/>
            </p:cNvSpPr>
            <p:nvPr/>
          </p:nvSpPr>
          <p:spPr bwMode="hidden">
            <a:xfrm>
              <a:off x="0" y="3433"/>
              <a:ext cx="4038" cy="191"/>
            </a:xfrm>
            <a:custGeom>
              <a:avLst/>
              <a:gdLst>
                <a:gd name="T0" fmla="*/ 0 w 4042"/>
                <a:gd name="T1" fmla="*/ 156 h 192"/>
                <a:gd name="T2" fmla="*/ 4042 w 4042"/>
                <a:gd name="T3" fmla="*/ 192 h 192"/>
                <a:gd name="T4" fmla="*/ 4042 w 4042"/>
                <a:gd name="T5" fmla="*/ 144 h 192"/>
                <a:gd name="T6" fmla="*/ 0 w 4042"/>
                <a:gd name="T7" fmla="*/ 0 h 192"/>
                <a:gd name="T8" fmla="*/ 0 w 4042"/>
                <a:gd name="T9" fmla="*/ 156 h 192"/>
                <a:gd name="T10" fmla="*/ 0 w 4042"/>
                <a:gd name="T11" fmla="*/ 15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42" h="192">
                  <a:moveTo>
                    <a:pt x="0" y="156"/>
                  </a:moveTo>
                  <a:lnTo>
                    <a:pt x="4042" y="192"/>
                  </a:lnTo>
                  <a:lnTo>
                    <a:pt x="4042" y="144"/>
                  </a:lnTo>
                  <a:lnTo>
                    <a:pt x="0" y="0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5686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8" name="Freeform 6">
              <a:extLst>
                <a:ext uri="{FF2B5EF4-FFF2-40B4-BE49-F238E27FC236}">
                  <a16:creationId xmlns:a16="http://schemas.microsoft.com/office/drawing/2014/main" id="{296CAFA1-F052-4906-BB20-014D8A17B17C}"/>
                </a:ext>
              </a:extLst>
            </p:cNvPr>
            <p:cNvSpPr>
              <a:spLocks/>
            </p:cNvSpPr>
            <p:nvPr/>
          </p:nvSpPr>
          <p:spPr bwMode="hidden">
            <a:xfrm>
              <a:off x="4038" y="3577"/>
              <a:ext cx="1720" cy="65"/>
            </a:xfrm>
            <a:custGeom>
              <a:avLst/>
              <a:gdLst>
                <a:gd name="T0" fmla="*/ 1696 w 1722"/>
                <a:gd name="T1" fmla="*/ 53 h 66"/>
                <a:gd name="T2" fmla="*/ 1696 w 1722"/>
                <a:gd name="T3" fmla="*/ 47 h 66"/>
                <a:gd name="T4" fmla="*/ 0 w 1722"/>
                <a:gd name="T5" fmla="*/ 0 h 66"/>
                <a:gd name="T6" fmla="*/ 0 w 1722"/>
                <a:gd name="T7" fmla="*/ 35 h 66"/>
                <a:gd name="T8" fmla="*/ 1696 w 1722"/>
                <a:gd name="T9" fmla="*/ 53 h 66"/>
                <a:gd name="T10" fmla="*/ 1696 w 1722"/>
                <a:gd name="T11" fmla="*/ 53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22" h="66">
                  <a:moveTo>
                    <a:pt x="1722" y="66"/>
                  </a:moveTo>
                  <a:lnTo>
                    <a:pt x="1722" y="6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1722" y="66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9146DE03-D018-47BA-B16A-D1D4369BDDE5}"/>
                </a:ext>
              </a:extLst>
            </p:cNvPr>
            <p:cNvSpPr>
              <a:spLocks/>
            </p:cNvSpPr>
            <p:nvPr/>
          </p:nvSpPr>
          <p:spPr bwMode="hidden">
            <a:xfrm>
              <a:off x="0" y="3726"/>
              <a:ext cx="4784" cy="329"/>
            </a:xfrm>
            <a:custGeom>
              <a:avLst/>
              <a:gdLst>
                <a:gd name="T0" fmla="*/ 0 w 4789"/>
                <a:gd name="T1" fmla="*/ 329 h 329"/>
                <a:gd name="T2" fmla="*/ 4789 w 4789"/>
                <a:gd name="T3" fmla="*/ 77 h 329"/>
                <a:gd name="T4" fmla="*/ 4789 w 4789"/>
                <a:gd name="T5" fmla="*/ 0 h 329"/>
                <a:gd name="T6" fmla="*/ 0 w 4789"/>
                <a:gd name="T7" fmla="*/ 107 h 329"/>
                <a:gd name="T8" fmla="*/ 0 w 4789"/>
                <a:gd name="T9" fmla="*/ 329 h 329"/>
                <a:gd name="T10" fmla="*/ 0 w 4789"/>
                <a:gd name="T11" fmla="*/ 32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89" h="329">
                  <a:moveTo>
                    <a:pt x="0" y="329"/>
                  </a:moveTo>
                  <a:lnTo>
                    <a:pt x="4789" y="77"/>
                  </a:lnTo>
                  <a:lnTo>
                    <a:pt x="4789" y="0"/>
                  </a:lnTo>
                  <a:lnTo>
                    <a:pt x="0" y="107"/>
                  </a:lnTo>
                  <a:lnTo>
                    <a:pt x="0" y="329"/>
                  </a:lnTo>
                  <a:lnTo>
                    <a:pt x="0" y="329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1961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1A9C4925-254C-417A-A2CA-BF16C1C1D1A1}"/>
                </a:ext>
              </a:extLst>
            </p:cNvPr>
            <p:cNvSpPr>
              <a:spLocks/>
            </p:cNvSpPr>
            <p:nvPr/>
          </p:nvSpPr>
          <p:spPr bwMode="hidden">
            <a:xfrm>
              <a:off x="4784" y="3702"/>
              <a:ext cx="974" cy="101"/>
            </a:xfrm>
            <a:custGeom>
              <a:avLst/>
              <a:gdLst>
                <a:gd name="T0" fmla="*/ 962 w 975"/>
                <a:gd name="T1" fmla="*/ 48 h 101"/>
                <a:gd name="T2" fmla="*/ 962 w 975"/>
                <a:gd name="T3" fmla="*/ 0 h 101"/>
                <a:gd name="T4" fmla="*/ 0 w 975"/>
                <a:gd name="T5" fmla="*/ 24 h 101"/>
                <a:gd name="T6" fmla="*/ 0 w 975"/>
                <a:gd name="T7" fmla="*/ 101 h 101"/>
                <a:gd name="T8" fmla="*/ 962 w 975"/>
                <a:gd name="T9" fmla="*/ 48 h 101"/>
                <a:gd name="T10" fmla="*/ 962 w 975"/>
                <a:gd name="T11" fmla="*/ 48 h 10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75" h="101">
                  <a:moveTo>
                    <a:pt x="975" y="48"/>
                  </a:moveTo>
                  <a:lnTo>
                    <a:pt x="975" y="0"/>
                  </a:lnTo>
                  <a:lnTo>
                    <a:pt x="0" y="24"/>
                  </a:lnTo>
                  <a:lnTo>
                    <a:pt x="0" y="101"/>
                  </a:lnTo>
                  <a:lnTo>
                    <a:pt x="975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586BB28D-C523-4414-B30E-F536C0432056}"/>
                </a:ext>
              </a:extLst>
            </p:cNvPr>
            <p:cNvSpPr>
              <a:spLocks/>
            </p:cNvSpPr>
            <p:nvPr/>
          </p:nvSpPr>
          <p:spPr bwMode="hidden">
            <a:xfrm>
              <a:off x="3619" y="3815"/>
              <a:ext cx="2139" cy="198"/>
            </a:xfrm>
            <a:custGeom>
              <a:avLst/>
              <a:gdLst>
                <a:gd name="T0" fmla="*/ 2115 w 2141"/>
                <a:gd name="T1" fmla="*/ 0 h 198"/>
                <a:gd name="T2" fmla="*/ 0 w 2141"/>
                <a:gd name="T3" fmla="*/ 156 h 198"/>
                <a:gd name="T4" fmla="*/ 0 w 2141"/>
                <a:gd name="T5" fmla="*/ 198 h 198"/>
                <a:gd name="T6" fmla="*/ 2115 w 2141"/>
                <a:gd name="T7" fmla="*/ 0 h 198"/>
                <a:gd name="T8" fmla="*/ 2115 w 2141"/>
                <a:gd name="T9" fmla="*/ 0 h 1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41" h="198">
                  <a:moveTo>
                    <a:pt x="2141" y="0"/>
                  </a:moveTo>
                  <a:lnTo>
                    <a:pt x="0" y="156"/>
                  </a:lnTo>
                  <a:lnTo>
                    <a:pt x="0" y="198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12" name="Freeform 10">
              <a:extLst>
                <a:ext uri="{FF2B5EF4-FFF2-40B4-BE49-F238E27FC236}">
                  <a16:creationId xmlns:a16="http://schemas.microsoft.com/office/drawing/2014/main" id="{25716479-4BD7-4762-8B5D-EFED2FCA2A72}"/>
                </a:ext>
              </a:extLst>
            </p:cNvPr>
            <p:cNvSpPr>
              <a:spLocks/>
            </p:cNvSpPr>
            <p:nvPr/>
          </p:nvSpPr>
          <p:spPr bwMode="hidden">
            <a:xfrm>
              <a:off x="0" y="3971"/>
              <a:ext cx="3619" cy="348"/>
            </a:xfrm>
            <a:custGeom>
              <a:avLst/>
              <a:gdLst>
                <a:gd name="T0" fmla="*/ 0 w 3623"/>
                <a:gd name="T1" fmla="*/ 348 h 348"/>
                <a:gd name="T2" fmla="*/ 311 w 3623"/>
                <a:gd name="T3" fmla="*/ 348 h 348"/>
                <a:gd name="T4" fmla="*/ 3623 w 3623"/>
                <a:gd name="T5" fmla="*/ 42 h 348"/>
                <a:gd name="T6" fmla="*/ 3623 w 3623"/>
                <a:gd name="T7" fmla="*/ 0 h 348"/>
                <a:gd name="T8" fmla="*/ 0 w 3623"/>
                <a:gd name="T9" fmla="*/ 264 h 348"/>
                <a:gd name="T10" fmla="*/ 0 w 3623"/>
                <a:gd name="T11" fmla="*/ 348 h 348"/>
                <a:gd name="T12" fmla="*/ 0 w 3623"/>
                <a:gd name="T13" fmla="*/ 34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23" h="348">
                  <a:moveTo>
                    <a:pt x="0" y="348"/>
                  </a:moveTo>
                  <a:lnTo>
                    <a:pt x="311" y="348"/>
                  </a:lnTo>
                  <a:lnTo>
                    <a:pt x="3623" y="42"/>
                  </a:lnTo>
                  <a:lnTo>
                    <a:pt x="3623" y="0"/>
                  </a:lnTo>
                  <a:lnTo>
                    <a:pt x="0" y="264"/>
                  </a:lnTo>
                  <a:lnTo>
                    <a:pt x="0" y="348"/>
                  </a:lnTo>
                  <a:lnTo>
                    <a:pt x="0" y="3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F53D0E7B-41A2-400A-A1AA-CEDC09C375A9}"/>
                </a:ext>
              </a:extLst>
            </p:cNvPr>
            <p:cNvSpPr>
              <a:spLocks/>
            </p:cNvSpPr>
            <p:nvPr/>
          </p:nvSpPr>
          <p:spPr bwMode="hidden">
            <a:xfrm>
              <a:off x="2097" y="4043"/>
              <a:ext cx="2514" cy="276"/>
            </a:xfrm>
            <a:custGeom>
              <a:avLst/>
              <a:gdLst>
                <a:gd name="T0" fmla="*/ 2143 w 2517"/>
                <a:gd name="T1" fmla="*/ 276 h 276"/>
                <a:gd name="T2" fmla="*/ 2478 w 2517"/>
                <a:gd name="T3" fmla="*/ 204 h 276"/>
                <a:gd name="T4" fmla="*/ 2221 w 2517"/>
                <a:gd name="T5" fmla="*/ 0 h 276"/>
                <a:gd name="T6" fmla="*/ 0 w 2517"/>
                <a:gd name="T7" fmla="*/ 276 h 276"/>
                <a:gd name="T8" fmla="*/ 2143 w 2517"/>
                <a:gd name="T9" fmla="*/ 276 h 276"/>
                <a:gd name="T10" fmla="*/ 2143 w 2517"/>
                <a:gd name="T11" fmla="*/ 276 h 27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17" h="276">
                  <a:moveTo>
                    <a:pt x="2182" y="276"/>
                  </a:moveTo>
                  <a:lnTo>
                    <a:pt x="2517" y="204"/>
                  </a:lnTo>
                  <a:lnTo>
                    <a:pt x="2260" y="0"/>
                  </a:lnTo>
                  <a:lnTo>
                    <a:pt x="0" y="276"/>
                  </a:lnTo>
                  <a:lnTo>
                    <a:pt x="2182" y="27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14" name="Freeform 12">
              <a:extLst>
                <a:ext uri="{FF2B5EF4-FFF2-40B4-BE49-F238E27FC236}">
                  <a16:creationId xmlns:a16="http://schemas.microsoft.com/office/drawing/2014/main" id="{718924D1-3E9A-4E2E-8032-34A5572AEF40}"/>
                </a:ext>
              </a:extLst>
            </p:cNvPr>
            <p:cNvSpPr>
              <a:spLocks/>
            </p:cNvSpPr>
            <p:nvPr/>
          </p:nvSpPr>
          <p:spPr bwMode="hidden">
            <a:xfrm>
              <a:off x="4354" y="3869"/>
              <a:ext cx="1404" cy="378"/>
            </a:xfrm>
            <a:custGeom>
              <a:avLst/>
              <a:gdLst>
                <a:gd name="T0" fmla="*/ 1405 w 1405"/>
                <a:gd name="T1" fmla="*/ 126 h 378"/>
                <a:gd name="T2" fmla="*/ 1405 w 1405"/>
                <a:gd name="T3" fmla="*/ 0 h 378"/>
                <a:gd name="T4" fmla="*/ 0 w 1405"/>
                <a:gd name="T5" fmla="*/ 174 h 378"/>
                <a:gd name="T6" fmla="*/ 257 w 1405"/>
                <a:gd name="T7" fmla="*/ 378 h 378"/>
                <a:gd name="T8" fmla="*/ 1405 w 1405"/>
                <a:gd name="T9" fmla="*/ 126 h 378"/>
                <a:gd name="T10" fmla="*/ 1405 w 1405"/>
                <a:gd name="T11" fmla="*/ 126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5" h="378">
                  <a:moveTo>
                    <a:pt x="1405" y="126"/>
                  </a:moveTo>
                  <a:lnTo>
                    <a:pt x="1405" y="0"/>
                  </a:lnTo>
                  <a:lnTo>
                    <a:pt x="0" y="174"/>
                  </a:lnTo>
                  <a:lnTo>
                    <a:pt x="257" y="378"/>
                  </a:lnTo>
                  <a:lnTo>
                    <a:pt x="1405" y="126"/>
                  </a:lnTo>
                  <a:lnTo>
                    <a:pt x="1405" y="12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6863"/>
                    <a:invGamma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5" name="Freeform 13">
              <a:extLst>
                <a:ext uri="{FF2B5EF4-FFF2-40B4-BE49-F238E27FC236}">
                  <a16:creationId xmlns:a16="http://schemas.microsoft.com/office/drawing/2014/main" id="{846598A7-9EEF-441D-8296-620DB52A8172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030" y="3151"/>
              <a:ext cx="728" cy="240"/>
            </a:xfrm>
            <a:custGeom>
              <a:avLst/>
              <a:gdLst>
                <a:gd name="T0" fmla="*/ 716 w 729"/>
                <a:gd name="T1" fmla="*/ 240 h 240"/>
                <a:gd name="T2" fmla="*/ 0 w 729"/>
                <a:gd name="T3" fmla="*/ 0 h 240"/>
                <a:gd name="T4" fmla="*/ 0 w 729"/>
                <a:gd name="T5" fmla="*/ 6 h 240"/>
                <a:gd name="T6" fmla="*/ 716 w 729"/>
                <a:gd name="T7" fmla="*/ 240 h 240"/>
                <a:gd name="T8" fmla="*/ 716 w 729"/>
                <a:gd name="T9" fmla="*/ 240 h 24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29" h="240">
                  <a:moveTo>
                    <a:pt x="729" y="24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729" y="2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16" name="Freeform 14">
              <a:extLst>
                <a:ext uri="{FF2B5EF4-FFF2-40B4-BE49-F238E27FC236}">
                  <a16:creationId xmlns:a16="http://schemas.microsoft.com/office/drawing/2014/main" id="{7D6CBCE4-0EDB-4AF0-B81C-9D79B8749B9D}"/>
                </a:ext>
              </a:extLst>
            </p:cNvPr>
            <p:cNvSpPr>
              <a:spLocks/>
            </p:cNvSpPr>
            <p:nvPr/>
          </p:nvSpPr>
          <p:spPr bwMode="hidden">
            <a:xfrm>
              <a:off x="0" y="1486"/>
              <a:ext cx="5030" cy="1671"/>
            </a:xfrm>
            <a:custGeom>
              <a:avLst/>
              <a:gdLst>
                <a:gd name="T0" fmla="*/ 0 w 5035"/>
                <a:gd name="T1" fmla="*/ 72 h 1672"/>
                <a:gd name="T2" fmla="*/ 5035 w 5035"/>
                <a:gd name="T3" fmla="*/ 1672 h 1672"/>
                <a:gd name="T4" fmla="*/ 5035 w 5035"/>
                <a:gd name="T5" fmla="*/ 1666 h 1672"/>
                <a:gd name="T6" fmla="*/ 0 w 5035"/>
                <a:gd name="T7" fmla="*/ 0 h 1672"/>
                <a:gd name="T8" fmla="*/ 0 w 5035"/>
                <a:gd name="T9" fmla="*/ 72 h 1672"/>
                <a:gd name="T10" fmla="*/ 0 w 5035"/>
                <a:gd name="T11" fmla="*/ 72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35" h="1672">
                  <a:moveTo>
                    <a:pt x="0" y="72"/>
                  </a:moveTo>
                  <a:lnTo>
                    <a:pt x="5035" y="1672"/>
                  </a:lnTo>
                  <a:lnTo>
                    <a:pt x="5035" y="1666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4510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7" name="Freeform 15">
              <a:extLst>
                <a:ext uri="{FF2B5EF4-FFF2-40B4-BE49-F238E27FC236}">
                  <a16:creationId xmlns:a16="http://schemas.microsoft.com/office/drawing/2014/main" id="{5DC33A42-F85E-465F-A784-6CA3DCF67A61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030" y="3049"/>
              <a:ext cx="728" cy="318"/>
            </a:xfrm>
            <a:custGeom>
              <a:avLst/>
              <a:gdLst>
                <a:gd name="T0" fmla="*/ 716 w 729"/>
                <a:gd name="T1" fmla="*/ 318 h 318"/>
                <a:gd name="T2" fmla="*/ 716 w 729"/>
                <a:gd name="T3" fmla="*/ 312 h 318"/>
                <a:gd name="T4" fmla="*/ 0 w 729"/>
                <a:gd name="T5" fmla="*/ 0 h 318"/>
                <a:gd name="T6" fmla="*/ 0 w 729"/>
                <a:gd name="T7" fmla="*/ 54 h 318"/>
                <a:gd name="T8" fmla="*/ 716 w 729"/>
                <a:gd name="T9" fmla="*/ 318 h 318"/>
                <a:gd name="T10" fmla="*/ 716 w 729"/>
                <a:gd name="T11" fmla="*/ 318 h 3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29" h="318">
                  <a:moveTo>
                    <a:pt x="729" y="318"/>
                  </a:moveTo>
                  <a:lnTo>
                    <a:pt x="729" y="31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729" y="318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18" name="Freeform 16">
              <a:extLst>
                <a:ext uri="{FF2B5EF4-FFF2-40B4-BE49-F238E27FC236}">
                  <a16:creationId xmlns:a16="http://schemas.microsoft.com/office/drawing/2014/main" id="{281E1FAD-A30C-45F0-910B-9F66946F8602}"/>
                </a:ext>
              </a:extLst>
            </p:cNvPr>
            <p:cNvSpPr>
              <a:spLocks/>
            </p:cNvSpPr>
            <p:nvPr/>
          </p:nvSpPr>
          <p:spPr bwMode="hidden">
            <a:xfrm>
              <a:off x="0" y="916"/>
              <a:ext cx="5030" cy="2187"/>
            </a:xfrm>
            <a:custGeom>
              <a:avLst/>
              <a:gdLst>
                <a:gd name="T0" fmla="*/ 0 w 5035"/>
                <a:gd name="T1" fmla="*/ 396 h 2188"/>
                <a:gd name="T2" fmla="*/ 5035 w 5035"/>
                <a:gd name="T3" fmla="*/ 2188 h 2188"/>
                <a:gd name="T4" fmla="*/ 5035 w 5035"/>
                <a:gd name="T5" fmla="*/ 2134 h 2188"/>
                <a:gd name="T6" fmla="*/ 0 w 5035"/>
                <a:gd name="T7" fmla="*/ 0 h 2188"/>
                <a:gd name="T8" fmla="*/ 0 w 5035"/>
                <a:gd name="T9" fmla="*/ 396 h 2188"/>
                <a:gd name="T10" fmla="*/ 0 w 5035"/>
                <a:gd name="T11" fmla="*/ 396 h 2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35" h="2188">
                  <a:moveTo>
                    <a:pt x="0" y="396"/>
                  </a:moveTo>
                  <a:lnTo>
                    <a:pt x="5035" y="2188"/>
                  </a:lnTo>
                  <a:lnTo>
                    <a:pt x="5035" y="2134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0" y="39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19" name="Freeform 17">
              <a:extLst>
                <a:ext uri="{FF2B5EF4-FFF2-40B4-BE49-F238E27FC236}">
                  <a16:creationId xmlns:a16="http://schemas.microsoft.com/office/drawing/2014/main" id="{A027BED7-7249-43E1-BFE5-595279A48CAB}"/>
                </a:ext>
              </a:extLst>
            </p:cNvPr>
            <p:cNvSpPr>
              <a:spLocks/>
            </p:cNvSpPr>
            <p:nvPr/>
          </p:nvSpPr>
          <p:spPr bwMode="hidden">
            <a:xfrm>
              <a:off x="2294" y="0"/>
              <a:ext cx="3159" cy="2725"/>
            </a:xfrm>
            <a:custGeom>
              <a:avLst/>
              <a:gdLst>
                <a:gd name="T0" fmla="*/ 0 w 3163"/>
                <a:gd name="T1" fmla="*/ 0 h 2727"/>
                <a:gd name="T2" fmla="*/ 3145 w 3163"/>
                <a:gd name="T3" fmla="*/ 2727 h 2727"/>
                <a:gd name="T4" fmla="*/ 3163 w 3163"/>
                <a:gd name="T5" fmla="*/ 2704 h 2727"/>
                <a:gd name="T6" fmla="*/ 102 w 3163"/>
                <a:gd name="T7" fmla="*/ 0 h 2727"/>
                <a:gd name="T8" fmla="*/ 0 w 3163"/>
                <a:gd name="T9" fmla="*/ 0 h 2727"/>
                <a:gd name="T10" fmla="*/ 0 w 3163"/>
                <a:gd name="T11" fmla="*/ 0 h 2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63" h="2727">
                  <a:moveTo>
                    <a:pt x="0" y="0"/>
                  </a:moveTo>
                  <a:lnTo>
                    <a:pt x="3145" y="2727"/>
                  </a:lnTo>
                  <a:lnTo>
                    <a:pt x="3163" y="2704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980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0" name="Freeform 18">
              <a:extLst>
                <a:ext uri="{FF2B5EF4-FFF2-40B4-BE49-F238E27FC236}">
                  <a16:creationId xmlns:a16="http://schemas.microsoft.com/office/drawing/2014/main" id="{03CA7C45-BB5A-4E6F-8A7E-2B80D2DFB0E9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435" y="2702"/>
              <a:ext cx="323" cy="299"/>
            </a:xfrm>
            <a:custGeom>
              <a:avLst/>
              <a:gdLst>
                <a:gd name="T0" fmla="*/ 323 w 323"/>
                <a:gd name="T1" fmla="*/ 299 h 299"/>
                <a:gd name="T2" fmla="*/ 323 w 323"/>
                <a:gd name="T3" fmla="*/ 263 h 299"/>
                <a:gd name="T4" fmla="*/ 18 w 323"/>
                <a:gd name="T5" fmla="*/ 0 h 299"/>
                <a:gd name="T6" fmla="*/ 0 w 323"/>
                <a:gd name="T7" fmla="*/ 23 h 299"/>
                <a:gd name="T8" fmla="*/ 323 w 323"/>
                <a:gd name="T9" fmla="*/ 299 h 299"/>
                <a:gd name="T10" fmla="*/ 323 w 323"/>
                <a:gd name="T11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3" h="299">
                  <a:moveTo>
                    <a:pt x="323" y="299"/>
                  </a:moveTo>
                  <a:lnTo>
                    <a:pt x="323" y="263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323" y="299"/>
                  </a:lnTo>
                  <a:lnTo>
                    <a:pt x="323" y="299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4118"/>
                    <a:invGamma/>
                  </a:schemeClr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1" name="Freeform 19">
              <a:extLst>
                <a:ext uri="{FF2B5EF4-FFF2-40B4-BE49-F238E27FC236}">
                  <a16:creationId xmlns:a16="http://schemas.microsoft.com/office/drawing/2014/main" id="{1FC0ABC2-345A-4B59-954A-3524B4767D01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477" y="2588"/>
              <a:ext cx="281" cy="335"/>
            </a:xfrm>
            <a:custGeom>
              <a:avLst/>
              <a:gdLst>
                <a:gd name="T0" fmla="*/ 281 w 281"/>
                <a:gd name="T1" fmla="*/ 335 h 335"/>
                <a:gd name="T2" fmla="*/ 281 w 281"/>
                <a:gd name="T3" fmla="*/ 173 h 335"/>
                <a:gd name="T4" fmla="*/ 96 w 281"/>
                <a:gd name="T5" fmla="*/ 0 h 335"/>
                <a:gd name="T6" fmla="*/ 0 w 281"/>
                <a:gd name="T7" fmla="*/ 90 h 335"/>
                <a:gd name="T8" fmla="*/ 281 w 281"/>
                <a:gd name="T9" fmla="*/ 335 h 335"/>
                <a:gd name="T10" fmla="*/ 281 w 281"/>
                <a:gd name="T11" fmla="*/ 335 h 3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1" h="335">
                  <a:moveTo>
                    <a:pt x="281" y="335"/>
                  </a:moveTo>
                  <a:lnTo>
                    <a:pt x="281" y="173"/>
                  </a:lnTo>
                  <a:lnTo>
                    <a:pt x="96" y="0"/>
                  </a:lnTo>
                  <a:lnTo>
                    <a:pt x="0" y="90"/>
                  </a:lnTo>
                  <a:lnTo>
                    <a:pt x="281" y="3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09B2BB03-7151-4A54-A9D0-1716A7AC00B5}"/>
                </a:ext>
              </a:extLst>
            </p:cNvPr>
            <p:cNvSpPr>
              <a:spLocks/>
            </p:cNvSpPr>
            <p:nvPr/>
          </p:nvSpPr>
          <p:spPr bwMode="hidden">
            <a:xfrm>
              <a:off x="2454" y="0"/>
              <a:ext cx="3119" cy="2678"/>
            </a:xfrm>
            <a:custGeom>
              <a:avLst/>
              <a:gdLst>
                <a:gd name="T0" fmla="*/ 0 w 3122"/>
                <a:gd name="T1" fmla="*/ 0 h 2680"/>
                <a:gd name="T2" fmla="*/ 3026 w 3122"/>
                <a:gd name="T3" fmla="*/ 2680 h 2680"/>
                <a:gd name="T4" fmla="*/ 3122 w 3122"/>
                <a:gd name="T5" fmla="*/ 2590 h 2680"/>
                <a:gd name="T6" fmla="*/ 383 w 3122"/>
                <a:gd name="T7" fmla="*/ 0 h 2680"/>
                <a:gd name="T8" fmla="*/ 0 w 3122"/>
                <a:gd name="T9" fmla="*/ 0 h 2680"/>
                <a:gd name="T10" fmla="*/ 0 w 3122"/>
                <a:gd name="T11" fmla="*/ 0 h 2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22" h="2680">
                  <a:moveTo>
                    <a:pt x="0" y="0"/>
                  </a:moveTo>
                  <a:lnTo>
                    <a:pt x="3026" y="2680"/>
                  </a:lnTo>
                  <a:lnTo>
                    <a:pt x="3122" y="2590"/>
                  </a:lnTo>
                  <a:lnTo>
                    <a:pt x="38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id="{3930D1CF-37FC-4870-88BC-17FA2A091A90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626" y="2534"/>
              <a:ext cx="132" cy="132"/>
            </a:xfrm>
            <a:custGeom>
              <a:avLst/>
              <a:gdLst>
                <a:gd name="T0" fmla="*/ 132 w 132"/>
                <a:gd name="T1" fmla="*/ 132 h 132"/>
                <a:gd name="T2" fmla="*/ 0 w 132"/>
                <a:gd name="T3" fmla="*/ 0 h 132"/>
                <a:gd name="T4" fmla="*/ 0 w 132"/>
                <a:gd name="T5" fmla="*/ 0 h 132"/>
                <a:gd name="T6" fmla="*/ 132 w 132"/>
                <a:gd name="T7" fmla="*/ 132 h 132"/>
                <a:gd name="T8" fmla="*/ 132 w 132"/>
                <a:gd name="T9" fmla="*/ 132 h 1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2" h="132">
                  <a:moveTo>
                    <a:pt x="132" y="132"/>
                  </a:moveTo>
                  <a:lnTo>
                    <a:pt x="0" y="0"/>
                  </a:lnTo>
                  <a:lnTo>
                    <a:pt x="132" y="132"/>
                  </a:lnTo>
                  <a:close/>
                </a:path>
              </a:pathLst>
            </a:custGeom>
            <a:solidFill>
              <a:srgbClr val="FF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4" name="Freeform 22">
              <a:extLst>
                <a:ext uri="{FF2B5EF4-FFF2-40B4-BE49-F238E27FC236}">
                  <a16:creationId xmlns:a16="http://schemas.microsoft.com/office/drawing/2014/main" id="{81F45129-3EE6-4B66-AB9F-531FF6811B51}"/>
                </a:ext>
              </a:extLst>
            </p:cNvPr>
            <p:cNvSpPr>
              <a:spLocks/>
            </p:cNvSpPr>
            <p:nvPr/>
          </p:nvSpPr>
          <p:spPr bwMode="hidden">
            <a:xfrm>
              <a:off x="3112" y="0"/>
              <a:ext cx="2514" cy="2534"/>
            </a:xfrm>
            <a:custGeom>
              <a:avLst/>
              <a:gdLst>
                <a:gd name="T0" fmla="*/ 0 w 2517"/>
                <a:gd name="T1" fmla="*/ 0 h 2536"/>
                <a:gd name="T2" fmla="*/ 2517 w 2517"/>
                <a:gd name="T3" fmla="*/ 2536 h 2536"/>
                <a:gd name="T4" fmla="*/ 2517 w 2517"/>
                <a:gd name="T5" fmla="*/ 2536 h 2536"/>
                <a:gd name="T6" fmla="*/ 66 w 2517"/>
                <a:gd name="T7" fmla="*/ 0 h 2536"/>
                <a:gd name="T8" fmla="*/ 0 w 2517"/>
                <a:gd name="T9" fmla="*/ 0 h 2536"/>
                <a:gd name="T10" fmla="*/ 0 w 2517"/>
                <a:gd name="T11" fmla="*/ 0 h 2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17" h="2536">
                  <a:moveTo>
                    <a:pt x="0" y="0"/>
                  </a:moveTo>
                  <a:lnTo>
                    <a:pt x="2517" y="2536"/>
                  </a:lnTo>
                  <a:lnTo>
                    <a:pt x="2517" y="2536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1373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5" name="Freeform 23">
              <a:extLst>
                <a:ext uri="{FF2B5EF4-FFF2-40B4-BE49-F238E27FC236}">
                  <a16:creationId xmlns:a16="http://schemas.microsoft.com/office/drawing/2014/main" id="{1122E990-C57B-4F5B-AD5B-4576E9AFCDC2}"/>
                </a:ext>
              </a:extLst>
            </p:cNvPr>
            <p:cNvSpPr>
              <a:spLocks/>
            </p:cNvSpPr>
            <p:nvPr/>
          </p:nvSpPr>
          <p:spPr bwMode="hidden">
            <a:xfrm>
              <a:off x="3488" y="0"/>
              <a:ext cx="2198" cy="2480"/>
            </a:xfrm>
            <a:custGeom>
              <a:avLst/>
              <a:gdLst>
                <a:gd name="T0" fmla="*/ 0 w 2200"/>
                <a:gd name="T1" fmla="*/ 0 h 2482"/>
                <a:gd name="T2" fmla="*/ 2188 w 2200"/>
                <a:gd name="T3" fmla="*/ 2482 h 2482"/>
                <a:gd name="T4" fmla="*/ 2200 w 2200"/>
                <a:gd name="T5" fmla="*/ 2476 h 2482"/>
                <a:gd name="T6" fmla="*/ 317 w 2200"/>
                <a:gd name="T7" fmla="*/ 0 h 2482"/>
                <a:gd name="T8" fmla="*/ 0 w 2200"/>
                <a:gd name="T9" fmla="*/ 0 h 2482"/>
                <a:gd name="T10" fmla="*/ 0 w 2200"/>
                <a:gd name="T11" fmla="*/ 0 h 2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00" h="2482">
                  <a:moveTo>
                    <a:pt x="0" y="0"/>
                  </a:moveTo>
                  <a:lnTo>
                    <a:pt x="2188" y="2482"/>
                  </a:lnTo>
                  <a:lnTo>
                    <a:pt x="2200" y="2476"/>
                  </a:lnTo>
                  <a:lnTo>
                    <a:pt x="3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>
              <a:noFill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6" name="Freeform 24">
              <a:extLst>
                <a:ext uri="{FF2B5EF4-FFF2-40B4-BE49-F238E27FC236}">
                  <a16:creationId xmlns:a16="http://schemas.microsoft.com/office/drawing/2014/main" id="{B48BCB9F-F7B7-48AD-8AFF-5238F1CB9172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674" y="2474"/>
              <a:ext cx="84" cy="96"/>
            </a:xfrm>
            <a:custGeom>
              <a:avLst/>
              <a:gdLst>
                <a:gd name="T0" fmla="*/ 84 w 84"/>
                <a:gd name="T1" fmla="*/ 96 h 96"/>
                <a:gd name="T2" fmla="*/ 84 w 84"/>
                <a:gd name="T3" fmla="*/ 90 h 96"/>
                <a:gd name="T4" fmla="*/ 12 w 84"/>
                <a:gd name="T5" fmla="*/ 0 h 96"/>
                <a:gd name="T6" fmla="*/ 0 w 84"/>
                <a:gd name="T7" fmla="*/ 6 h 96"/>
                <a:gd name="T8" fmla="*/ 84 w 84"/>
                <a:gd name="T9" fmla="*/ 96 h 96"/>
                <a:gd name="T10" fmla="*/ 84 w 84"/>
                <a:gd name="T1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96">
                  <a:moveTo>
                    <a:pt x="84" y="96"/>
                  </a:moveTo>
                  <a:lnTo>
                    <a:pt x="84" y="9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84" y="96"/>
                  </a:lnTo>
                  <a:lnTo>
                    <a:pt x="84" y="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0980"/>
                    <a:invGamma/>
                  </a:schemeClr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" name="Freeform 25">
              <a:extLst>
                <a:ext uri="{FF2B5EF4-FFF2-40B4-BE49-F238E27FC236}">
                  <a16:creationId xmlns:a16="http://schemas.microsoft.com/office/drawing/2014/main" id="{E75ADAEF-C164-4AD2-9F7E-5BF7093A67EB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603" y="850"/>
              <a:ext cx="155" cy="516"/>
            </a:xfrm>
            <a:custGeom>
              <a:avLst/>
              <a:gdLst>
                <a:gd name="T0" fmla="*/ 155 w 155"/>
                <a:gd name="T1" fmla="*/ 516 h 516"/>
                <a:gd name="T2" fmla="*/ 155 w 155"/>
                <a:gd name="T3" fmla="*/ 204 h 516"/>
                <a:gd name="T4" fmla="*/ 77 w 155"/>
                <a:gd name="T5" fmla="*/ 0 h 516"/>
                <a:gd name="T6" fmla="*/ 0 w 155"/>
                <a:gd name="T7" fmla="*/ 192 h 516"/>
                <a:gd name="T8" fmla="*/ 155 w 155"/>
                <a:gd name="T9" fmla="*/ 516 h 516"/>
                <a:gd name="T10" fmla="*/ 155 w 155"/>
                <a:gd name="T11" fmla="*/ 516 h 5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5" h="516">
                  <a:moveTo>
                    <a:pt x="155" y="516"/>
                  </a:moveTo>
                  <a:lnTo>
                    <a:pt x="155" y="204"/>
                  </a:lnTo>
                  <a:lnTo>
                    <a:pt x="77" y="0"/>
                  </a:lnTo>
                  <a:lnTo>
                    <a:pt x="0" y="192"/>
                  </a:lnTo>
                  <a:lnTo>
                    <a:pt x="155" y="51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8" name="Freeform 26">
              <a:extLst>
                <a:ext uri="{FF2B5EF4-FFF2-40B4-BE49-F238E27FC236}">
                  <a16:creationId xmlns:a16="http://schemas.microsoft.com/office/drawing/2014/main" id="{258D3F85-2CC3-44DD-9E65-BABB9DA9EBE8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107" y="0"/>
              <a:ext cx="573" cy="1042"/>
            </a:xfrm>
            <a:custGeom>
              <a:avLst/>
              <a:gdLst>
                <a:gd name="T0" fmla="*/ 0 w 574"/>
                <a:gd name="T1" fmla="*/ 0 h 1043"/>
                <a:gd name="T2" fmla="*/ 497 w 574"/>
                <a:gd name="T3" fmla="*/ 1043 h 1043"/>
                <a:gd name="T4" fmla="*/ 574 w 574"/>
                <a:gd name="T5" fmla="*/ 851 h 1043"/>
                <a:gd name="T6" fmla="*/ 251 w 574"/>
                <a:gd name="T7" fmla="*/ 0 h 1043"/>
                <a:gd name="T8" fmla="*/ 0 w 574"/>
                <a:gd name="T9" fmla="*/ 0 h 1043"/>
                <a:gd name="T10" fmla="*/ 0 w 574"/>
                <a:gd name="T11" fmla="*/ 0 h 10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4" h="1043">
                  <a:moveTo>
                    <a:pt x="0" y="0"/>
                  </a:moveTo>
                  <a:lnTo>
                    <a:pt x="497" y="1043"/>
                  </a:lnTo>
                  <a:lnTo>
                    <a:pt x="574" y="851"/>
                  </a:lnTo>
                  <a:lnTo>
                    <a:pt x="25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9" name="Freeform 27">
              <a:extLst>
                <a:ext uri="{FF2B5EF4-FFF2-40B4-BE49-F238E27FC236}">
                  <a16:creationId xmlns:a16="http://schemas.microsoft.com/office/drawing/2014/main" id="{698B0D3F-D80F-416D-BAD5-843702E87C01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411" y="0"/>
              <a:ext cx="341" cy="796"/>
            </a:xfrm>
            <a:custGeom>
              <a:avLst/>
              <a:gdLst>
                <a:gd name="T0" fmla="*/ 144 w 341"/>
                <a:gd name="T1" fmla="*/ 0 h 797"/>
                <a:gd name="T2" fmla="*/ 0 w 341"/>
                <a:gd name="T3" fmla="*/ 0 h 797"/>
                <a:gd name="T4" fmla="*/ 287 w 341"/>
                <a:gd name="T5" fmla="*/ 797 h 797"/>
                <a:gd name="T6" fmla="*/ 341 w 341"/>
                <a:gd name="T7" fmla="*/ 653 h 797"/>
                <a:gd name="T8" fmla="*/ 144 w 341"/>
                <a:gd name="T9" fmla="*/ 0 h 797"/>
                <a:gd name="T10" fmla="*/ 144 w 341"/>
                <a:gd name="T11" fmla="*/ 0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797">
                  <a:moveTo>
                    <a:pt x="144" y="0"/>
                  </a:moveTo>
                  <a:lnTo>
                    <a:pt x="0" y="0"/>
                  </a:lnTo>
                  <a:lnTo>
                    <a:pt x="287" y="797"/>
                  </a:lnTo>
                  <a:lnTo>
                    <a:pt x="341" y="653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980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0" name="Freeform 28">
              <a:extLst>
                <a:ext uri="{FF2B5EF4-FFF2-40B4-BE49-F238E27FC236}">
                  <a16:creationId xmlns:a16="http://schemas.microsoft.com/office/drawing/2014/main" id="{7B8E8249-9F5D-4415-839A-59C363F10537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698" y="653"/>
              <a:ext cx="60" cy="311"/>
            </a:xfrm>
            <a:custGeom>
              <a:avLst/>
              <a:gdLst>
                <a:gd name="T0" fmla="*/ 0 w 60"/>
                <a:gd name="T1" fmla="*/ 144 h 312"/>
                <a:gd name="T2" fmla="*/ 60 w 60"/>
                <a:gd name="T3" fmla="*/ 299 h 312"/>
                <a:gd name="T4" fmla="*/ 60 w 60"/>
                <a:gd name="T5" fmla="*/ 6 h 312"/>
                <a:gd name="T6" fmla="*/ 54 w 60"/>
                <a:gd name="T7" fmla="*/ 0 h 312"/>
                <a:gd name="T8" fmla="*/ 0 w 60"/>
                <a:gd name="T9" fmla="*/ 144 h 312"/>
                <a:gd name="T10" fmla="*/ 0 w 60"/>
                <a:gd name="T11" fmla="*/ 144 h 3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" h="312">
                  <a:moveTo>
                    <a:pt x="0" y="144"/>
                  </a:moveTo>
                  <a:lnTo>
                    <a:pt x="60" y="312"/>
                  </a:lnTo>
                  <a:lnTo>
                    <a:pt x="60" y="6"/>
                  </a:lnTo>
                  <a:lnTo>
                    <a:pt x="54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31" name="Freeform 29">
              <a:extLst>
                <a:ext uri="{FF2B5EF4-FFF2-40B4-BE49-F238E27FC236}">
                  <a16:creationId xmlns:a16="http://schemas.microsoft.com/office/drawing/2014/main" id="{D8E5B20C-2D66-44E2-89D8-0C49BB38C56F}"/>
                </a:ext>
              </a:extLst>
            </p:cNvPr>
            <p:cNvSpPr>
              <a:spLocks/>
            </p:cNvSpPr>
            <p:nvPr/>
          </p:nvSpPr>
          <p:spPr bwMode="hidden">
            <a:xfrm>
              <a:off x="2" y="1601"/>
              <a:ext cx="5752" cy="1864"/>
            </a:xfrm>
            <a:custGeom>
              <a:avLst/>
              <a:gdLst>
                <a:gd name="T0" fmla="*/ 0 w 5740"/>
                <a:gd name="T1" fmla="*/ 371 h 1864"/>
                <a:gd name="T2" fmla="*/ 5740 w 5740"/>
                <a:gd name="T3" fmla="*/ 1864 h 1864"/>
                <a:gd name="T4" fmla="*/ 5740 w 5740"/>
                <a:gd name="T5" fmla="*/ 1834 h 1864"/>
                <a:gd name="T6" fmla="*/ 0 w 5740"/>
                <a:gd name="T7" fmla="*/ 0 h 1864"/>
                <a:gd name="T8" fmla="*/ 0 w 5740"/>
                <a:gd name="T9" fmla="*/ 371 h 1864"/>
                <a:gd name="T10" fmla="*/ 0 w 5740"/>
                <a:gd name="T11" fmla="*/ 371 h 1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40" h="1864">
                  <a:moveTo>
                    <a:pt x="0" y="371"/>
                  </a:moveTo>
                  <a:lnTo>
                    <a:pt x="5740" y="1864"/>
                  </a:lnTo>
                  <a:lnTo>
                    <a:pt x="5740" y="1834"/>
                  </a:lnTo>
                  <a:lnTo>
                    <a:pt x="0" y="0"/>
                  </a:lnTo>
                  <a:lnTo>
                    <a:pt x="0" y="371"/>
                  </a:lnTo>
                  <a:lnTo>
                    <a:pt x="0" y="371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352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2" name="Freeform 30">
              <a:extLst>
                <a:ext uri="{FF2B5EF4-FFF2-40B4-BE49-F238E27FC236}">
                  <a16:creationId xmlns:a16="http://schemas.microsoft.com/office/drawing/2014/main" id="{9F38C894-5488-423A-96BB-239CC6DBE187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754" y="3483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6 w 6"/>
                <a:gd name="T7" fmla="*/ 6 h 6"/>
                <a:gd name="T8" fmla="*/ 6 w 6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18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33" name="Freeform 31">
              <a:extLst>
                <a:ext uri="{FF2B5EF4-FFF2-40B4-BE49-F238E27FC236}">
                  <a16:creationId xmlns:a16="http://schemas.microsoft.com/office/drawing/2014/main" id="{A6593E5E-9328-4A2E-829C-8A88E701545D}"/>
                </a:ext>
              </a:extLst>
            </p:cNvPr>
            <p:cNvSpPr>
              <a:spLocks/>
            </p:cNvSpPr>
            <p:nvPr/>
          </p:nvSpPr>
          <p:spPr bwMode="hidden">
            <a:xfrm>
              <a:off x="2" y="2152"/>
              <a:ext cx="5752" cy="1337"/>
            </a:xfrm>
            <a:custGeom>
              <a:avLst/>
              <a:gdLst>
                <a:gd name="T0" fmla="*/ 0 w 5740"/>
                <a:gd name="T1" fmla="*/ 366 h 1337"/>
                <a:gd name="T2" fmla="*/ 5740 w 5740"/>
                <a:gd name="T3" fmla="*/ 1337 h 1337"/>
                <a:gd name="T4" fmla="*/ 5740 w 5740"/>
                <a:gd name="T5" fmla="*/ 1331 h 1337"/>
                <a:gd name="T6" fmla="*/ 0 w 5740"/>
                <a:gd name="T7" fmla="*/ 0 h 1337"/>
                <a:gd name="T8" fmla="*/ 0 w 5740"/>
                <a:gd name="T9" fmla="*/ 366 h 1337"/>
                <a:gd name="T10" fmla="*/ 0 w 5740"/>
                <a:gd name="T11" fmla="*/ 366 h 1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40" h="1337">
                  <a:moveTo>
                    <a:pt x="0" y="366"/>
                  </a:moveTo>
                  <a:lnTo>
                    <a:pt x="5740" y="1337"/>
                  </a:lnTo>
                  <a:lnTo>
                    <a:pt x="5740" y="1331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0" y="36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4" name="Freeform 32">
              <a:extLst>
                <a:ext uri="{FF2B5EF4-FFF2-40B4-BE49-F238E27FC236}">
                  <a16:creationId xmlns:a16="http://schemas.microsoft.com/office/drawing/2014/main" id="{3CC1E742-85E7-4548-9BD9-1B59F3B01BEA}"/>
                </a:ext>
              </a:extLst>
            </p:cNvPr>
            <p:cNvSpPr>
              <a:spLocks/>
            </p:cNvSpPr>
            <p:nvPr/>
          </p:nvSpPr>
          <p:spPr bwMode="hidden">
            <a:xfrm>
              <a:off x="2" y="3177"/>
              <a:ext cx="5752" cy="414"/>
            </a:xfrm>
            <a:custGeom>
              <a:avLst/>
              <a:gdLst>
                <a:gd name="T0" fmla="*/ 0 w 5740"/>
                <a:gd name="T1" fmla="*/ 48 h 414"/>
                <a:gd name="T2" fmla="*/ 5740 w 5740"/>
                <a:gd name="T3" fmla="*/ 414 h 414"/>
                <a:gd name="T4" fmla="*/ 5740 w 5740"/>
                <a:gd name="T5" fmla="*/ 402 h 414"/>
                <a:gd name="T6" fmla="*/ 0 w 5740"/>
                <a:gd name="T7" fmla="*/ 0 h 414"/>
                <a:gd name="T8" fmla="*/ 0 w 5740"/>
                <a:gd name="T9" fmla="*/ 48 h 414"/>
                <a:gd name="T10" fmla="*/ 0 w 5740"/>
                <a:gd name="T11" fmla="*/ 48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40" h="414">
                  <a:moveTo>
                    <a:pt x="0" y="48"/>
                  </a:moveTo>
                  <a:lnTo>
                    <a:pt x="5740" y="414"/>
                  </a:lnTo>
                  <a:lnTo>
                    <a:pt x="5740" y="402"/>
                  </a:lnTo>
                  <a:lnTo>
                    <a:pt x="0" y="0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5" name="Freeform 33">
              <a:extLst>
                <a:ext uri="{FF2B5EF4-FFF2-40B4-BE49-F238E27FC236}">
                  <a16:creationId xmlns:a16="http://schemas.microsoft.com/office/drawing/2014/main" id="{C248A0A7-7A9A-42BC-80CB-8CAF6C9354AE}"/>
                </a:ext>
              </a:extLst>
            </p:cNvPr>
            <p:cNvSpPr>
              <a:spLocks/>
            </p:cNvSpPr>
            <p:nvPr/>
          </p:nvSpPr>
          <p:spPr bwMode="hidden">
            <a:xfrm>
              <a:off x="1297" y="0"/>
              <a:ext cx="4457" cy="3177"/>
            </a:xfrm>
            <a:custGeom>
              <a:avLst/>
              <a:gdLst>
                <a:gd name="T0" fmla="*/ 0 w 4448"/>
                <a:gd name="T1" fmla="*/ 0 h 3177"/>
                <a:gd name="T2" fmla="*/ 4448 w 4448"/>
                <a:gd name="T3" fmla="*/ 3177 h 3177"/>
                <a:gd name="T4" fmla="*/ 4448 w 4448"/>
                <a:gd name="T5" fmla="*/ 3153 h 3177"/>
                <a:gd name="T6" fmla="*/ 125 w 4448"/>
                <a:gd name="T7" fmla="*/ 0 h 3177"/>
                <a:gd name="T8" fmla="*/ 0 w 4448"/>
                <a:gd name="T9" fmla="*/ 0 h 3177"/>
                <a:gd name="T10" fmla="*/ 0 w 4448"/>
                <a:gd name="T11" fmla="*/ 0 h 3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48" h="3177">
                  <a:moveTo>
                    <a:pt x="0" y="0"/>
                  </a:moveTo>
                  <a:lnTo>
                    <a:pt x="4448" y="3177"/>
                  </a:lnTo>
                  <a:lnTo>
                    <a:pt x="4448" y="3153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862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6" name="Freeform 34">
              <a:extLst>
                <a:ext uri="{FF2B5EF4-FFF2-40B4-BE49-F238E27FC236}">
                  <a16:creationId xmlns:a16="http://schemas.microsoft.com/office/drawing/2014/main" id="{EB6F173D-EB3E-4015-909F-7CEABAC85B5D}"/>
                </a:ext>
              </a:extLst>
            </p:cNvPr>
            <p:cNvSpPr>
              <a:spLocks/>
            </p:cNvSpPr>
            <p:nvPr/>
          </p:nvSpPr>
          <p:spPr bwMode="hidden">
            <a:xfrm>
              <a:off x="3321" y="0"/>
              <a:ext cx="2433" cy="2614"/>
            </a:xfrm>
            <a:custGeom>
              <a:avLst/>
              <a:gdLst>
                <a:gd name="T0" fmla="*/ 0 w 2428"/>
                <a:gd name="T1" fmla="*/ 0 h 2614"/>
                <a:gd name="T2" fmla="*/ 2428 w 2428"/>
                <a:gd name="T3" fmla="*/ 2614 h 2614"/>
                <a:gd name="T4" fmla="*/ 2428 w 2428"/>
                <a:gd name="T5" fmla="*/ 2608 h 2614"/>
                <a:gd name="T6" fmla="*/ 66 w 2428"/>
                <a:gd name="T7" fmla="*/ 0 h 2614"/>
                <a:gd name="T8" fmla="*/ 0 w 2428"/>
                <a:gd name="T9" fmla="*/ 0 h 2614"/>
                <a:gd name="T10" fmla="*/ 0 w 2428"/>
                <a:gd name="T11" fmla="*/ 0 h 2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8" h="2614">
                  <a:moveTo>
                    <a:pt x="0" y="0"/>
                  </a:moveTo>
                  <a:lnTo>
                    <a:pt x="2428" y="2614"/>
                  </a:lnTo>
                  <a:lnTo>
                    <a:pt x="2428" y="2608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7" name="Freeform 35">
              <a:extLst>
                <a:ext uri="{FF2B5EF4-FFF2-40B4-BE49-F238E27FC236}">
                  <a16:creationId xmlns:a16="http://schemas.microsoft.com/office/drawing/2014/main" id="{134BBA81-C9F5-4F3F-940B-9E500D8A0385}"/>
                </a:ext>
              </a:extLst>
            </p:cNvPr>
            <p:cNvSpPr>
              <a:spLocks/>
            </p:cNvSpPr>
            <p:nvPr/>
          </p:nvSpPr>
          <p:spPr bwMode="hidden">
            <a:xfrm>
              <a:off x="3950" y="0"/>
              <a:ext cx="1804" cy="2464"/>
            </a:xfrm>
            <a:custGeom>
              <a:avLst/>
              <a:gdLst>
                <a:gd name="T0" fmla="*/ 485 w 1800"/>
                <a:gd name="T1" fmla="*/ 0 h 2464"/>
                <a:gd name="T2" fmla="*/ 0 w 1800"/>
                <a:gd name="T3" fmla="*/ 0 h 2464"/>
                <a:gd name="T4" fmla="*/ 1800 w 1800"/>
                <a:gd name="T5" fmla="*/ 2464 h 2464"/>
                <a:gd name="T6" fmla="*/ 1800 w 1800"/>
                <a:gd name="T7" fmla="*/ 2248 h 2464"/>
                <a:gd name="T8" fmla="*/ 1794 w 1800"/>
                <a:gd name="T9" fmla="*/ 2248 h 2464"/>
                <a:gd name="T10" fmla="*/ 485 w 1800"/>
                <a:gd name="T11" fmla="*/ 0 h 2464"/>
                <a:gd name="T12" fmla="*/ 485 w 1800"/>
                <a:gd name="T13" fmla="*/ 0 h 2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0" h="2464">
                  <a:moveTo>
                    <a:pt x="485" y="0"/>
                  </a:moveTo>
                  <a:lnTo>
                    <a:pt x="0" y="0"/>
                  </a:lnTo>
                  <a:lnTo>
                    <a:pt x="1800" y="2464"/>
                  </a:lnTo>
                  <a:lnTo>
                    <a:pt x="1800" y="2248"/>
                  </a:lnTo>
                  <a:lnTo>
                    <a:pt x="1794" y="2248"/>
                  </a:lnTo>
                  <a:lnTo>
                    <a:pt x="485" y="0"/>
                  </a:lnTo>
                  <a:lnTo>
                    <a:pt x="485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8" name="Freeform 36">
              <a:extLst>
                <a:ext uri="{FF2B5EF4-FFF2-40B4-BE49-F238E27FC236}">
                  <a16:creationId xmlns:a16="http://schemas.microsoft.com/office/drawing/2014/main" id="{7261DAB7-FC72-458D-9ECF-D1D912239BE7}"/>
                </a:ext>
              </a:extLst>
            </p:cNvPr>
            <p:cNvSpPr>
              <a:spLocks/>
            </p:cNvSpPr>
            <p:nvPr/>
          </p:nvSpPr>
          <p:spPr bwMode="hidden">
            <a:xfrm>
              <a:off x="4519" y="0"/>
              <a:ext cx="1235" cy="2074"/>
            </a:xfrm>
            <a:custGeom>
              <a:avLst/>
              <a:gdLst>
                <a:gd name="T0" fmla="*/ 0 w 1232"/>
                <a:gd name="T1" fmla="*/ 0 h 2074"/>
                <a:gd name="T2" fmla="*/ 1232 w 1232"/>
                <a:gd name="T3" fmla="*/ 2074 h 2074"/>
                <a:gd name="T4" fmla="*/ 1232 w 1232"/>
                <a:gd name="T5" fmla="*/ 2038 h 2074"/>
                <a:gd name="T6" fmla="*/ 42 w 1232"/>
                <a:gd name="T7" fmla="*/ 0 h 2074"/>
                <a:gd name="T8" fmla="*/ 0 w 1232"/>
                <a:gd name="T9" fmla="*/ 0 h 2074"/>
                <a:gd name="T10" fmla="*/ 0 w 1232"/>
                <a:gd name="T11" fmla="*/ 0 h 2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2" h="2074">
                  <a:moveTo>
                    <a:pt x="0" y="0"/>
                  </a:moveTo>
                  <a:lnTo>
                    <a:pt x="1232" y="2074"/>
                  </a:lnTo>
                  <a:lnTo>
                    <a:pt x="1232" y="203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764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39" name="Freeform 37">
              <a:extLst>
                <a:ext uri="{FF2B5EF4-FFF2-40B4-BE49-F238E27FC236}">
                  <a16:creationId xmlns:a16="http://schemas.microsoft.com/office/drawing/2014/main" id="{EBB1BA2B-324C-41BB-BEA9-DC2A09819305}"/>
                </a:ext>
              </a:extLst>
            </p:cNvPr>
            <p:cNvSpPr>
              <a:spLocks/>
            </p:cNvSpPr>
            <p:nvPr/>
          </p:nvSpPr>
          <p:spPr bwMode="hidden">
            <a:xfrm>
              <a:off x="4694" y="0"/>
              <a:ext cx="1060" cy="1936"/>
            </a:xfrm>
            <a:custGeom>
              <a:avLst/>
              <a:gdLst>
                <a:gd name="T0" fmla="*/ 0 w 1058"/>
                <a:gd name="T1" fmla="*/ 0 h 1936"/>
                <a:gd name="T2" fmla="*/ 1058 w 1058"/>
                <a:gd name="T3" fmla="*/ 1936 h 1936"/>
                <a:gd name="T4" fmla="*/ 1058 w 1058"/>
                <a:gd name="T5" fmla="*/ 1930 h 1936"/>
                <a:gd name="T6" fmla="*/ 54 w 1058"/>
                <a:gd name="T7" fmla="*/ 0 h 1936"/>
                <a:gd name="T8" fmla="*/ 0 w 1058"/>
                <a:gd name="T9" fmla="*/ 0 h 1936"/>
                <a:gd name="T10" fmla="*/ 0 w 1058"/>
                <a:gd name="T11" fmla="*/ 0 h 1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8" h="1936">
                  <a:moveTo>
                    <a:pt x="0" y="0"/>
                  </a:moveTo>
                  <a:lnTo>
                    <a:pt x="1058" y="1936"/>
                  </a:lnTo>
                  <a:lnTo>
                    <a:pt x="1058" y="1930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40" name="Freeform 38">
              <a:extLst>
                <a:ext uri="{FF2B5EF4-FFF2-40B4-BE49-F238E27FC236}">
                  <a16:creationId xmlns:a16="http://schemas.microsoft.com/office/drawing/2014/main" id="{D8AE3733-B43C-432C-BD78-DF0A1DC67B22}"/>
                </a:ext>
              </a:extLst>
            </p:cNvPr>
            <p:cNvSpPr>
              <a:spLocks/>
            </p:cNvSpPr>
            <p:nvPr/>
          </p:nvSpPr>
          <p:spPr bwMode="hidden">
            <a:xfrm>
              <a:off x="4981" y="0"/>
              <a:ext cx="773" cy="1487"/>
            </a:xfrm>
            <a:custGeom>
              <a:avLst/>
              <a:gdLst>
                <a:gd name="T0" fmla="*/ 771 w 771"/>
                <a:gd name="T1" fmla="*/ 1433 h 1487"/>
                <a:gd name="T2" fmla="*/ 42 w 771"/>
                <a:gd name="T3" fmla="*/ 0 h 1487"/>
                <a:gd name="T4" fmla="*/ 0 w 771"/>
                <a:gd name="T5" fmla="*/ 0 h 1487"/>
                <a:gd name="T6" fmla="*/ 771 w 771"/>
                <a:gd name="T7" fmla="*/ 1487 h 1487"/>
                <a:gd name="T8" fmla="*/ 771 w 771"/>
                <a:gd name="T9" fmla="*/ 1433 h 1487"/>
                <a:gd name="T10" fmla="*/ 771 w 771"/>
                <a:gd name="T11" fmla="*/ 1433 h 1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1" h="1487">
                  <a:moveTo>
                    <a:pt x="771" y="1433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771" y="1487"/>
                  </a:lnTo>
                  <a:lnTo>
                    <a:pt x="771" y="1433"/>
                  </a:lnTo>
                  <a:lnTo>
                    <a:pt x="771" y="1433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882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grpSp>
          <p:nvGrpSpPr>
            <p:cNvPr id="41" name="Group 39">
              <a:extLst>
                <a:ext uri="{FF2B5EF4-FFF2-40B4-BE49-F238E27FC236}">
                  <a16:creationId xmlns:a16="http://schemas.microsoft.com/office/drawing/2014/main" id="{54D307A8-40C0-42D4-BD9C-56208B2A1DC3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0" y="1632"/>
              <a:ext cx="5758" cy="1858"/>
              <a:chOff x="0" y="1632"/>
              <a:chExt cx="5758" cy="1858"/>
            </a:xfrm>
          </p:grpSpPr>
          <p:sp>
            <p:nvSpPr>
              <p:cNvPr id="42" name="Freeform 40">
                <a:extLst>
                  <a:ext uri="{FF2B5EF4-FFF2-40B4-BE49-F238E27FC236}">
                    <a16:creationId xmlns:a16="http://schemas.microsoft.com/office/drawing/2014/main" id="{1FE54697-564F-46AC-9B84-B9FC4F700B65}"/>
                  </a:ext>
                </a:extLst>
              </p:cNvPr>
              <p:cNvSpPr>
                <a:spLocks/>
              </p:cNvSpPr>
              <p:nvPr/>
            </p:nvSpPr>
            <p:spPr bwMode="hidden">
              <a:xfrm>
                <a:off x="0" y="1632"/>
                <a:ext cx="3670" cy="1313"/>
              </a:xfrm>
              <a:custGeom>
                <a:avLst/>
                <a:gdLst>
                  <a:gd name="T0" fmla="*/ 0 w 3659"/>
                  <a:gd name="T1" fmla="*/ 0 h 1313"/>
                  <a:gd name="T2" fmla="*/ 0 w 3659"/>
                  <a:gd name="T3" fmla="*/ 366 h 1313"/>
                  <a:gd name="T4" fmla="*/ 3635 w 3659"/>
                  <a:gd name="T5" fmla="*/ 1313 h 1313"/>
                  <a:gd name="T6" fmla="*/ 3647 w 3659"/>
                  <a:gd name="T7" fmla="*/ 1235 h 1313"/>
                  <a:gd name="T8" fmla="*/ 3659 w 3659"/>
                  <a:gd name="T9" fmla="*/ 1163 h 1313"/>
                  <a:gd name="T10" fmla="*/ 0 w 3659"/>
                  <a:gd name="T11" fmla="*/ 0 h 1313"/>
                  <a:gd name="T12" fmla="*/ 0 w 3659"/>
                  <a:gd name="T13" fmla="*/ 0 h 1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59" h="1313">
                    <a:moveTo>
                      <a:pt x="0" y="0"/>
                    </a:moveTo>
                    <a:lnTo>
                      <a:pt x="0" y="366"/>
                    </a:lnTo>
                    <a:lnTo>
                      <a:pt x="3635" y="1313"/>
                    </a:lnTo>
                    <a:lnTo>
                      <a:pt x="3647" y="1235"/>
                    </a:lnTo>
                    <a:lnTo>
                      <a:pt x="3659" y="116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72549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43" name="Freeform 41">
                <a:extLst>
                  <a:ext uri="{FF2B5EF4-FFF2-40B4-BE49-F238E27FC236}">
                    <a16:creationId xmlns:a16="http://schemas.microsoft.com/office/drawing/2014/main" id="{A6E15617-132C-4322-ADEE-357D6056A803}"/>
                  </a:ext>
                </a:extLst>
              </p:cNvPr>
              <p:cNvSpPr>
                <a:spLocks/>
              </p:cNvSpPr>
              <p:nvPr/>
            </p:nvSpPr>
            <p:spPr bwMode="hidden">
              <a:xfrm>
                <a:off x="3646" y="2795"/>
                <a:ext cx="2112" cy="695"/>
              </a:xfrm>
              <a:custGeom>
                <a:avLst/>
                <a:gdLst>
                  <a:gd name="T0" fmla="*/ 2105 w 2105"/>
                  <a:gd name="T1" fmla="*/ 665 h 695"/>
                  <a:gd name="T2" fmla="*/ 24 w 2105"/>
                  <a:gd name="T3" fmla="*/ 0 h 695"/>
                  <a:gd name="T4" fmla="*/ 12 w 2105"/>
                  <a:gd name="T5" fmla="*/ 72 h 695"/>
                  <a:gd name="T6" fmla="*/ 0 w 2105"/>
                  <a:gd name="T7" fmla="*/ 150 h 695"/>
                  <a:gd name="T8" fmla="*/ 2105 w 2105"/>
                  <a:gd name="T9" fmla="*/ 695 h 695"/>
                  <a:gd name="T10" fmla="*/ 2105 w 2105"/>
                  <a:gd name="T11" fmla="*/ 665 h 695"/>
                  <a:gd name="T12" fmla="*/ 2105 w 2105"/>
                  <a:gd name="T13" fmla="*/ 665 h 6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05" h="695">
                    <a:moveTo>
                      <a:pt x="2105" y="665"/>
                    </a:moveTo>
                    <a:lnTo>
                      <a:pt x="24" y="0"/>
                    </a:lnTo>
                    <a:lnTo>
                      <a:pt x="12" y="72"/>
                    </a:lnTo>
                    <a:lnTo>
                      <a:pt x="0" y="150"/>
                    </a:lnTo>
                    <a:lnTo>
                      <a:pt x="2105" y="695"/>
                    </a:lnTo>
                    <a:lnTo>
                      <a:pt x="2105" y="665"/>
                    </a:lnTo>
                    <a:lnTo>
                      <a:pt x="2105" y="66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90980"/>
                      <a:invGamma/>
                    </a:scheme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272426" name="Rectangle 42"/>
          <p:cNvSpPr>
            <a:spLocks noGrp="1" noChangeArrowheads="1"/>
          </p:cNvSpPr>
          <p:nvPr>
            <p:ph type="ctrTitle" sz="quarter"/>
          </p:nvPr>
        </p:nvSpPr>
        <p:spPr>
          <a:xfrm>
            <a:off x="609600" y="1600200"/>
            <a:ext cx="10972800" cy="1828800"/>
          </a:xfrm>
        </p:spPr>
        <p:txBody>
          <a:bodyPr/>
          <a:lstStyle>
            <a:lvl1pPr>
              <a:defRPr sz="4800"/>
            </a:lvl1pPr>
          </a:lstStyle>
          <a:p>
            <a:pPr lvl="0"/>
            <a:r>
              <a:rPr lang="da-DK" altLang="da-DK" noProof="0"/>
              <a:t>Klik for at redigere titeltypografi i masteren</a:t>
            </a:r>
          </a:p>
        </p:txBody>
      </p:sp>
      <p:sp>
        <p:nvSpPr>
          <p:cNvPr id="272427" name="Rectangle 4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3600"/>
            </a:lvl1pPr>
          </a:lstStyle>
          <a:p>
            <a:pPr lvl="0"/>
            <a:r>
              <a:rPr lang="da-DK" altLang="da-DK" noProof="0"/>
              <a:t>Klik for at redigere undertiteltypografien i masteren</a:t>
            </a:r>
          </a:p>
        </p:txBody>
      </p:sp>
      <p:sp>
        <p:nvSpPr>
          <p:cNvPr id="44" name="Rectangle 44">
            <a:extLst>
              <a:ext uri="{FF2B5EF4-FFF2-40B4-BE49-F238E27FC236}">
                <a16:creationId xmlns:a16="http://schemas.microsoft.com/office/drawing/2014/main" id="{698A72D8-156A-4699-A8F1-D2DD11B84F14}"/>
              </a:ext>
            </a:extLst>
          </p:cNvPr>
          <p:cNvSpPr>
            <a:spLocks noGrp="1" noChangeArrowheads="1"/>
          </p:cNvSpPr>
          <p:nvPr>
            <p:ph type="dt" sz="quarter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A60D9D4A-2BFB-4E3A-BE23-98DE0D613A8D}" type="datetime1">
              <a:rPr lang="da-DK" altLang="da-DK"/>
              <a:pPr>
                <a:defRPr/>
              </a:pPr>
              <a:t>07-06-2024</a:t>
            </a:fld>
            <a:endParaRPr lang="da-DK" altLang="da-DK"/>
          </a:p>
        </p:txBody>
      </p:sp>
      <p:sp>
        <p:nvSpPr>
          <p:cNvPr id="45" name="Rectangle 45">
            <a:extLst>
              <a:ext uri="{FF2B5EF4-FFF2-40B4-BE49-F238E27FC236}">
                <a16:creationId xmlns:a16="http://schemas.microsoft.com/office/drawing/2014/main" id="{0E9C6F7A-4C8A-4A65-AF02-22D801EA209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da-DK" altLang="da-DK"/>
          </a:p>
        </p:txBody>
      </p:sp>
      <p:sp>
        <p:nvSpPr>
          <p:cNvPr id="46" name="Rectangle 46">
            <a:extLst>
              <a:ext uri="{FF2B5EF4-FFF2-40B4-BE49-F238E27FC236}">
                <a16:creationId xmlns:a16="http://schemas.microsoft.com/office/drawing/2014/main" id="{B41D6030-B203-4343-AD66-8AC5C09E123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9C5400C-F5E3-421A-AE60-B42004CF494F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69988619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561DEA0-B1BE-4AE7-9572-7B023E94E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A083989C-9EF8-4ECB-A4E1-4557E32F0981}" type="datetime1">
              <a:rPr lang="da-DK" altLang="da-DK"/>
              <a:pPr>
                <a:defRPr/>
              </a:pPr>
              <a:t>07-06-2024</a:t>
            </a:fld>
            <a:endParaRPr lang="da-DK" alt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50F3F01-9C4E-4EC9-B052-9DDC0D14D1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da-DK" altLang="da-DK"/>
          </a:p>
        </p:txBody>
      </p:sp>
      <p:sp>
        <p:nvSpPr>
          <p:cNvPr id="6" name="Pladsholder til diasnummer 5">
            <a:extLst>
              <a:ext uri="{FF2B5EF4-FFF2-40B4-BE49-F238E27FC236}">
                <a16:creationId xmlns:a16="http://schemas.microsoft.com/office/drawing/2014/main" id="{8A155D78-BB92-4B1C-A7A4-31E73F839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317FA8-56B1-457C-84E8-04D8211669BD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420532112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6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8AE04DE-4C2D-4D9F-91C8-A94F9FD579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556C496E-E02B-4DC1-9C21-D248B1C14A66}" type="datetime1">
              <a:rPr lang="da-DK" altLang="da-DK"/>
              <a:pPr>
                <a:defRPr/>
              </a:pPr>
              <a:t>07-06-2024</a:t>
            </a:fld>
            <a:endParaRPr lang="da-DK" alt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AF89642-737A-47DA-A010-1DF5EAE11D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da-DK" altLang="da-DK"/>
          </a:p>
        </p:txBody>
      </p:sp>
      <p:sp>
        <p:nvSpPr>
          <p:cNvPr id="6" name="Pladsholder til diasnummer 5">
            <a:extLst>
              <a:ext uri="{FF2B5EF4-FFF2-40B4-BE49-F238E27FC236}">
                <a16:creationId xmlns:a16="http://schemas.microsoft.com/office/drawing/2014/main" id="{1DEAF140-0079-4FEC-A6D8-38573AB3DA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0D18465-1A98-45E3-9CCD-7CE135D2C49D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354220901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09600" y="1600205"/>
            <a:ext cx="53848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97600" y="1600205"/>
            <a:ext cx="5384800" cy="4530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1A172FF-C88B-4981-9DFF-4460A4787F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8B6C9DDE-69DF-4727-A5F3-5BC7545EFB91}" type="datetime1">
              <a:rPr lang="da-DK" altLang="da-DK"/>
              <a:pPr>
                <a:defRPr/>
              </a:pPr>
              <a:t>07-06-2024</a:t>
            </a:fld>
            <a:endParaRPr lang="da-DK" alt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147B0C5-27D1-49DA-9246-3BC476007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da-DK" altLang="da-DK"/>
          </a:p>
        </p:txBody>
      </p:sp>
      <p:sp>
        <p:nvSpPr>
          <p:cNvPr id="7" name="Pladsholder til diasnummer 6">
            <a:extLst>
              <a:ext uri="{FF2B5EF4-FFF2-40B4-BE49-F238E27FC236}">
                <a16:creationId xmlns:a16="http://schemas.microsoft.com/office/drawing/2014/main" id="{73C902DB-DF83-4493-9E62-44A31C87B3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D1A5CD4-13C6-4E3A-BF09-E32E641A869B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86044025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93378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1377D214-2270-4EC6-9450-B1F2A82D60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C53319BB-A14D-4CE4-84C3-792840639A4D}" type="datetime1">
              <a:rPr lang="da-DK" altLang="da-DK"/>
              <a:pPr>
                <a:defRPr/>
              </a:pPr>
              <a:t>07-06-2024</a:t>
            </a:fld>
            <a:endParaRPr lang="da-DK" alt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16E4F9AA-5C65-4438-AE0A-4A8A3309E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da-DK" altLang="da-DK"/>
          </a:p>
        </p:txBody>
      </p:sp>
      <p:sp>
        <p:nvSpPr>
          <p:cNvPr id="9" name="Pladsholder til diasnummer 8">
            <a:extLst>
              <a:ext uri="{FF2B5EF4-FFF2-40B4-BE49-F238E27FC236}">
                <a16:creationId xmlns:a16="http://schemas.microsoft.com/office/drawing/2014/main" id="{ACDA5778-C6BC-4637-A7F0-C84CDBC1C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977F808-3DB8-407A-B972-82E56673B057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36942473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BCDF7C2-90FB-4695-ADD9-B820721AB6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3F4F626C-2525-4114-A9A9-AB418196DF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FD0CD09D-B949-431A-967E-7AE80105B5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438AD-D1D5-486C-BD2E-A2F7E55E93BD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2D07767-041E-4B5B-A134-D4E3EC2269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7A74CAE-E787-441A-B0CF-77DE7C20F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5F7FE-9889-4C1A-96EF-97C893BCEB5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76072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83ED6063-8495-467F-96B8-9D943BF9DA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4E4FB8EA-2928-4178-BDFA-3DBCACC6D875}" type="datetime1">
              <a:rPr lang="da-DK" altLang="da-DK"/>
              <a:pPr>
                <a:defRPr/>
              </a:pPr>
              <a:t>07-06-2024</a:t>
            </a:fld>
            <a:endParaRPr lang="da-DK" alt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EA897FC-EF1B-46E8-ADAB-E3787DBFB7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da-DK" altLang="da-DK"/>
          </a:p>
        </p:txBody>
      </p:sp>
      <p:sp>
        <p:nvSpPr>
          <p:cNvPr id="5" name="Pladsholder til diasnummer 4">
            <a:extLst>
              <a:ext uri="{FF2B5EF4-FFF2-40B4-BE49-F238E27FC236}">
                <a16:creationId xmlns:a16="http://schemas.microsoft.com/office/drawing/2014/main" id="{95F6E85A-F1AC-41D3-836E-C89669DE8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47C8C48-DEE4-4C49-B0A7-4067F79F4D0A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0404196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9D9C2B99-131A-4A5C-AB48-21830082FE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6210DFE4-40A5-4E77-8D89-F4ED731C2204}" type="datetime1">
              <a:rPr lang="da-DK" altLang="da-DK"/>
              <a:pPr>
                <a:defRPr/>
              </a:pPr>
              <a:t>07-06-2024</a:t>
            </a:fld>
            <a:endParaRPr lang="da-DK" alt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78676A4-1612-43ED-9B00-8E344A590B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da-DK" altLang="da-DK"/>
          </a:p>
        </p:txBody>
      </p:sp>
      <p:sp>
        <p:nvSpPr>
          <p:cNvPr id="4" name="Pladsholder til diasnummer 3">
            <a:extLst>
              <a:ext uri="{FF2B5EF4-FFF2-40B4-BE49-F238E27FC236}">
                <a16:creationId xmlns:a16="http://schemas.microsoft.com/office/drawing/2014/main" id="{57A39917-CA38-4471-91AD-507EF5053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6320D60-838B-4442-8612-6019C5FEF2EC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206361598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CFA6A52-09CD-4978-9FEE-AA8742C958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1E6BC5AA-2209-4640-80A3-46C1ADF5E520}" type="datetime1">
              <a:rPr lang="da-DK" altLang="da-DK"/>
              <a:pPr>
                <a:defRPr/>
              </a:pPr>
              <a:t>07-06-2024</a:t>
            </a:fld>
            <a:endParaRPr lang="da-DK" alt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7072AE7C-CC82-4CF7-8548-2D5F1DCF4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da-DK" altLang="da-DK"/>
          </a:p>
        </p:txBody>
      </p:sp>
      <p:sp>
        <p:nvSpPr>
          <p:cNvPr id="7" name="Pladsholder til diasnummer 6">
            <a:extLst>
              <a:ext uri="{FF2B5EF4-FFF2-40B4-BE49-F238E27FC236}">
                <a16:creationId xmlns:a16="http://schemas.microsoft.com/office/drawing/2014/main" id="{54F567E6-06DA-4245-9956-719612A7A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DD4917B-CC7E-4445-82F1-C0E19EFCD1C2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78983622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2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a-DK" noProof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7E70AD20-2162-4DBB-B864-3367B882D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8DDCE3B2-3B69-4822-82AD-33DA6E14045A}" type="datetime1">
              <a:rPr lang="da-DK" altLang="da-DK"/>
              <a:pPr>
                <a:defRPr/>
              </a:pPr>
              <a:t>07-06-2024</a:t>
            </a:fld>
            <a:endParaRPr lang="da-DK" alt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25AD97B5-789A-494A-9757-62C4E41A4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da-DK" altLang="da-DK"/>
          </a:p>
        </p:txBody>
      </p:sp>
      <p:sp>
        <p:nvSpPr>
          <p:cNvPr id="7" name="Pladsholder til diasnummer 6">
            <a:extLst>
              <a:ext uri="{FF2B5EF4-FFF2-40B4-BE49-F238E27FC236}">
                <a16:creationId xmlns:a16="http://schemas.microsoft.com/office/drawing/2014/main" id="{D77C14E7-AAB8-4CC9-AE4E-CD3AA0CEA6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F1D137F-3CD4-4394-B7B0-78B7BB4BAF00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47170445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D2C1676-D5DE-4BD2-9070-26A9B42E16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AFEA58D8-8F6B-4F51-98B9-C212DC152FD3}" type="datetime1">
              <a:rPr lang="da-DK" altLang="da-DK"/>
              <a:pPr>
                <a:defRPr/>
              </a:pPr>
              <a:t>07-06-2024</a:t>
            </a:fld>
            <a:endParaRPr lang="da-DK" alt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6B9081D-AA13-4859-A389-972942EE69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da-DK" altLang="da-DK"/>
          </a:p>
        </p:txBody>
      </p:sp>
      <p:sp>
        <p:nvSpPr>
          <p:cNvPr id="6" name="Pladsholder til diasnummer 5">
            <a:extLst>
              <a:ext uri="{FF2B5EF4-FFF2-40B4-BE49-F238E27FC236}">
                <a16:creationId xmlns:a16="http://schemas.microsoft.com/office/drawing/2014/main" id="{0D627B78-65C3-4F91-B288-C9ACAD6C52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5C8B208-49A8-4D60-A3CD-0208ACFD596C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34524984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839200" y="277813"/>
            <a:ext cx="2743200" cy="5853112"/>
          </a:xfrm>
        </p:spPr>
        <p:txBody>
          <a:bodyPr vert="eaVert"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609600" y="277813"/>
            <a:ext cx="8026400" cy="5853112"/>
          </a:xfrm>
        </p:spPr>
        <p:txBody>
          <a:bodyPr vert="eaVert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7978697-97B1-45C6-92FF-2AEA6C2AAE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fld id="{36DA9806-46C4-407C-BB01-C736367C2F8C}" type="datetime1">
              <a:rPr lang="da-DK" altLang="da-DK"/>
              <a:pPr>
                <a:defRPr/>
              </a:pPr>
              <a:t>07-06-2024</a:t>
            </a:fld>
            <a:endParaRPr lang="da-DK" alt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3F9D6642-BB69-4EA3-B625-3587379D6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ea typeface="+mn-ea"/>
              </a:defRPr>
            </a:lvl1pPr>
          </a:lstStyle>
          <a:p>
            <a:pPr>
              <a:defRPr/>
            </a:pPr>
            <a:endParaRPr lang="da-DK" altLang="da-DK"/>
          </a:p>
        </p:txBody>
      </p:sp>
      <p:sp>
        <p:nvSpPr>
          <p:cNvPr id="6" name="Pladsholder til diasnummer 5">
            <a:extLst>
              <a:ext uri="{FF2B5EF4-FFF2-40B4-BE49-F238E27FC236}">
                <a16:creationId xmlns:a16="http://schemas.microsoft.com/office/drawing/2014/main" id="{5F783D0F-0E59-4E94-B9DA-0357D28258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832AEFF-2BB5-445C-BD43-BE43113FC2B0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87648750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998003-1E31-4241-866C-75C5B9575A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280731"/>
            <a:ext cx="10972800" cy="444182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1" y="425451"/>
            <a:ext cx="8145137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/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4" name="Footer Placeholder 3">
            <a:extLst>
              <a:ext uri="{FF2B5EF4-FFF2-40B4-BE49-F238E27FC236}">
                <a16:creationId xmlns:a16="http://schemas.microsoft.com/office/drawing/2014/main" id="{C6460008-2D95-48E7-AC1C-DA06D43C99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0" y="5994400"/>
            <a:ext cx="10236200" cy="863600"/>
          </a:xfrm>
          <a:prstGeom prst="rect">
            <a:avLst/>
          </a:prstGeom>
        </p:spPr>
        <p:txBody>
          <a:bodyPr vert="horz" lIns="180000" tIns="0" rIns="180000" bIns="0" rtlCol="0" anchor="ctr"/>
          <a:lstStyle>
            <a:lvl1pPr eaLnBrk="0" hangingPunct="0">
              <a:defRPr sz="1000"/>
            </a:lvl1pPr>
          </a:lstStyle>
          <a:p>
            <a:pPr>
              <a:defRPr/>
            </a:pPr>
            <a:endParaRPr lang="en-US" kern="12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84904944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7877C8D-EEED-44A4-B2CB-6FCE977D150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  <a:endParaRPr lang="en-DK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003CFACC-8BFB-4FC4-9893-CC56EE7E5D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en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C2A99DA6-4E99-4BDE-9438-1768B0B4D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35C05-CD88-4485-B482-384EF9954727}" type="datetime8">
              <a:rPr lang="en-DK" smtClean="0"/>
              <a:t>06/07/2024 09:22</a:t>
            </a:fld>
            <a:endParaRPr lang="en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058F7E1-445A-49AA-A015-52D0C8597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rederik Husum Mårup - JC d. 8/2</a:t>
            </a:r>
            <a:endParaRPr lang="en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B29A9A3A-C6BD-4739-AADF-A05C65359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482A7-395D-448F-97C6-E36F801A358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98924233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3A78FB-6ED1-4C8F-A81A-E551CE7A77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008418F-603A-4A27-A4CB-D23237ABC5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F0A25CF8-8DB7-48E8-A598-D67ED984A1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B16DEC-6DE0-44BD-8B36-5E254A9382B0}" type="datetime8">
              <a:rPr lang="en-DK" smtClean="0"/>
              <a:t>06/07/2024 09:22</a:t>
            </a:fld>
            <a:endParaRPr lang="en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CD56604-D50A-4581-90CE-C6F0B3F16B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rederik Husum Mårup - JC d. 8/2</a:t>
            </a:r>
            <a:endParaRPr lang="en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7970162-A9C2-4D06-A44F-839E0C26A5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482A7-395D-448F-97C6-E36F801A358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6416350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CFD1B5-7C88-40C7-96DE-0152804C5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  <a:endParaRPr lang="en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91BAD81-342A-4A30-8C0F-DB56E72248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F721055-3902-4E9A-B17E-75986B9578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0333A-DC97-4280-8152-1274BC88CD65}" type="datetime8">
              <a:rPr lang="en-DK" smtClean="0"/>
              <a:t>06/07/2024 09:22</a:t>
            </a:fld>
            <a:endParaRPr lang="en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F519A01-22C1-45C9-B66B-92CF9E2C2D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rederik Husum Mårup - JC d. 8/2</a:t>
            </a:r>
            <a:endParaRPr lang="en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C2BB8D-C38F-4EB4-B33F-5181E78A6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482A7-395D-448F-97C6-E36F801A358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40497643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FA7169-79D6-43A3-B4A3-7BC2DD2F7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1109E16-7DFE-4A36-BAA5-0C8D84D17F1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7BF5258-CBBE-4C81-BD82-4F68B7E0CD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438AD-D1D5-486C-BD2E-A2F7E55E93BD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37720D4-20A8-4CD8-B7D7-F8CFD74C3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FBA9734-A43D-4A97-87C3-819D2A5639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5F7FE-9889-4C1A-96EF-97C893BCEB5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35893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6D73504-BBA9-42B2-AD2A-E8B1E6F84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114DF88-2F0D-4FBE-9C6F-6A984BF80E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FC8827AC-7AB1-40C7-B2A5-3D7E3178A0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DK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0E9DB29E-B55F-44BF-BAA7-D802C7E696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EC56B8-C8BB-4713-BB0B-BA70B3AC403B}" type="datetime8">
              <a:rPr lang="en-DK" smtClean="0"/>
              <a:t>06/07/2024 09:22</a:t>
            </a:fld>
            <a:endParaRPr lang="en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FD671E33-0F80-450B-9576-69B6A9084C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rederik Husum Mårup - JC d. 8/2</a:t>
            </a:r>
            <a:endParaRPr lang="en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2BF682E-04CE-44DE-AA9C-5F20DF60B8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482A7-395D-448F-97C6-E36F801A358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40954248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9686D0-F471-4E12-97FA-C0B09170E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F773DB1B-8C0B-47D1-8979-969940A3DA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72C005D5-8BAD-41CE-81AC-D9205B71FE0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E9DE8405-01A9-4D85-AAD3-5076F0AF611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A40D36BC-FFAF-419E-A0C1-D6784B0A59F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DK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6A6C05A8-0891-4A4E-8E2F-D0A2288B7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7899FC-E4C2-48C4-ABD3-0A01B27EF3BD}" type="datetime8">
              <a:rPr lang="en-DK" smtClean="0"/>
              <a:t>06/07/2024 09:22</a:t>
            </a:fld>
            <a:endParaRPr lang="en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3F5A1C64-F0B3-485D-B2A2-99C1B8620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rederik Husum Mårup - JC d. 8/2</a:t>
            </a:r>
            <a:endParaRPr lang="en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4C5C1200-7935-49FC-B6A0-BD781EF1A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482A7-395D-448F-97C6-E36F801A358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58310090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CB1B4CC-870A-48B0-BC04-B275B5F724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E6A7CB63-CB63-4607-97BB-875E91753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B7B1D0-1AA2-4227-8CCF-BC548C53DF22}" type="datetime8">
              <a:rPr lang="en-DK" smtClean="0"/>
              <a:t>06/07/2024 09:22</a:t>
            </a:fld>
            <a:endParaRPr lang="en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193DC276-05E1-4635-A5DD-774CB3A504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rederik Husum Mårup - JC d. 8/2</a:t>
            </a:r>
            <a:endParaRPr lang="en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DD5AE8B-4FB5-4A1C-A5D0-398D10E499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482A7-395D-448F-97C6-E36F801A358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415477302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F0391690-006B-4621-97F6-B81DB5A169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7F4187-BEA8-44FE-BD81-7B913BE2A19F}" type="datetime8">
              <a:rPr lang="en-DK" smtClean="0"/>
              <a:t>06/07/2024 09:22</a:t>
            </a:fld>
            <a:endParaRPr lang="en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5062578F-BEF2-46B4-8CFC-4D7086827A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rederik Husum Mårup - JC d. 8/2</a:t>
            </a:r>
            <a:endParaRPr lang="en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75CB5695-7B9E-49D5-A6B0-1D88B01B87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482A7-395D-448F-97C6-E36F801A358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27034297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43D7F29-52B9-40E2-A55A-70B42F04D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  <a:endParaRPr lang="en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D359263-4F95-4CA2-8358-584201E51D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425BE28C-A2FD-4CA0-B728-C06E56EC40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E1691799-C796-4D56-A3EC-27B069C02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D1B5D-C338-46FC-B88F-C2AAE7D2CB59}" type="datetime8">
              <a:rPr lang="en-DK" smtClean="0"/>
              <a:t>06/07/2024 09:22</a:t>
            </a:fld>
            <a:endParaRPr lang="en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05AA6BDA-EE23-47BF-AFD4-0A05312116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rederik Husum Mårup - JC d. 8/2</a:t>
            </a:r>
            <a:endParaRPr lang="en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3985FF3-936A-4629-BB33-A7D94CE23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482A7-395D-448F-97C6-E36F801A358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11891057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2E78A2D-0AB8-4397-A300-BB64D8930C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  <a:endParaRPr lang="en-DK"/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604B7B71-229D-4A59-8950-A7A8442FE7D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B518A66-84AB-4D54-8DA1-AE53FEE6F9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50C6AB73-2390-4527-8196-2302DEADD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C5D2B-E99D-44B1-B15B-D0B73998ACBA}" type="datetime8">
              <a:rPr lang="en-DK" smtClean="0"/>
              <a:t>06/07/2024 09:22</a:t>
            </a:fld>
            <a:endParaRPr lang="en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55B7830-4304-42FB-9F3C-740010A000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rederik Husum Mårup - JC d. 8/2</a:t>
            </a:r>
            <a:endParaRPr lang="en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9D2BBE7-D8EE-4D5C-92EC-CC8E68EE2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482A7-395D-448F-97C6-E36F801A358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62354750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472148-78FA-4AF0-8B04-670E9DA579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DK"/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8CC1B297-1F92-40B9-A0B2-19A6F13E38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98F71F7-AFB3-4F33-ACAC-5A64FFAFB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3092F-DCE6-4372-80C5-A7E5EE13CA24}" type="datetime8">
              <a:rPr lang="en-DK" smtClean="0"/>
              <a:t>06/07/2024 09:22</a:t>
            </a:fld>
            <a:endParaRPr lang="en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1975942-E650-44ED-94A6-7C08F184F8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rederik Husum Mårup - JC d. 8/2</a:t>
            </a:r>
            <a:endParaRPr lang="en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8280617-F950-42D5-BE05-1487E83AE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482A7-395D-448F-97C6-E36F801A358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37153754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003682AD-2D8A-4D08-802B-979270E3D2E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en-DK"/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72FF9A81-837B-496E-A8FB-5E6A448A4BE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76A9A11-E836-49E3-8286-391027723A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72C929-9FED-4B8F-9DCD-0AB097AE285B}" type="datetime8">
              <a:rPr lang="en-DK" smtClean="0"/>
              <a:t>06/07/2024 09:22</a:t>
            </a:fld>
            <a:endParaRPr lang="en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E202ED0-4CED-44E3-BD56-045BD1ED9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Frederik Husum Mårup - JC d. 8/2</a:t>
            </a:r>
            <a:endParaRPr lang="en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B4E4AAD-352D-4C8C-A7E5-19D59F8F60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A482A7-395D-448F-97C6-E36F801A358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4713356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FA2558-8D01-471A-9C9B-C39F4D1A6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9ECE1D-0946-4434-995F-36CFE2B579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A2852006-70A8-42B8-865E-B235251CA8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BB983B3B-CB50-4EAB-9900-39D13256D6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438AD-D1D5-486C-BD2E-A2F7E55E93BD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F5E3407-2281-4ABA-9A4D-845C99D187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B38647D8-4EFE-476B-B936-C7C65C99F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5F7FE-9889-4C1A-96EF-97C893BCEB5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55905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0C28A9-0E1C-40AD-A4FE-6F1A30088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D350702-0281-4303-9E16-912D801A8E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68D76FF-190C-48BA-B15C-318774AF01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96BD2DF0-C5D5-4EB9-BB72-0B17ED7CFB9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25922E69-8461-4889-A22D-8C2F9BBA14B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F658D91A-3CF0-4B02-A8FB-A3ADC0C93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438AD-D1D5-486C-BD2E-A2F7E55E93BD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EA174E25-6AC6-4A0B-9661-EF757E5B3C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33B4FFB2-374A-488F-93AC-B97D3CB96A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5F7FE-9889-4C1A-96EF-97C893BCEB5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8030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AA589A-800F-4472-AB53-FDEB0BDC08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66455F1D-1058-44C3-BFFE-77A85B7DC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438AD-D1D5-486C-BD2E-A2F7E55E93BD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63D4682-85E4-4C35-8CDB-9E2BEEF970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6C712D5-71CE-40C4-96CB-D5D8F65EF7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5F7FE-9889-4C1A-96EF-97C893BCEB5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8362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E6B0A44A-4E36-49BB-A8B9-6848A1B79B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438AD-D1D5-486C-BD2E-A2F7E55E93BD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BCADC92B-E964-478C-9CD0-E486051240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4CE2265A-6D8C-41C4-8799-E3826F1FA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5F7FE-9889-4C1A-96EF-97C893BCEB5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6444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9B1024-55EE-4EC8-BF03-0E2018A6DE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0828B24-01AD-4D94-87C2-C86258E7EB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1241487-FDD0-491A-9400-273A0DEBEFD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95AB715F-70B0-49A0-B6FE-EC458510D8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438AD-D1D5-486C-BD2E-A2F7E55E93BD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6FBEA3B-89A1-4A60-B0FF-E85D119828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3B012AD-B290-4EEB-B852-943506DD9E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5F7FE-9889-4C1A-96EF-97C893BCEB5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92524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4A414B-3CD3-E54C-09B2-418ECFE470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84B66AF-4795-4157-1AC5-B560789031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589A766-64A3-1CF9-3BAD-BC5FD0C97C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72B0E-C09B-4693-A89E-D34A74ECA21B}" type="datetimeFigureOut">
              <a:rPr lang="da-DK" smtClean="0"/>
              <a:t>07-06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5A24F07-0C55-1D4A-9C90-5C87434D6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C944DD3-7DC4-37DA-468F-2F1995BDFE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46BE7-77C3-4533-BF30-57BD74EFE84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5911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68141F9-4510-49B7-B576-7B01975E3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763755E4-F33E-4199-9B17-C8B53110F00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658048A-2D4B-4D98-AE60-6715BA0A38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57FDA12E-D2E7-4CA6-8715-3CD0DF76D9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438AD-D1D5-486C-BD2E-A2F7E55E93BD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0CBF17B1-41A6-4DB4-B049-C05926125B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7FCF8E6-2156-4317-B136-0205CABF4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5F7FE-9889-4C1A-96EF-97C893BCEB5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2046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DC6D03-B171-432B-995D-2D4B3507A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1F0179B4-E880-416A-A356-DBE8D0FCA0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A6B2D27-8888-45DD-8D24-8124F4FAED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438AD-D1D5-486C-BD2E-A2F7E55E93BD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19AE3D3-CA54-45D6-B332-6DB101810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595F06A-1A29-4992-97A2-D577C5F350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5F7FE-9889-4C1A-96EF-97C893BCEB5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8513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C9801A18-FDCF-4408-95DF-DCD7E415E7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4937B261-9ED4-4848-A959-CCA340C340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7520D5D-EBB5-458B-BDE6-2D2563DB22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438AD-D1D5-486C-BD2E-A2F7E55E93BD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58F756C-2C36-40F8-B5C5-53EE4C86B1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D1291B53-44E6-41E9-80D7-4A483CC0B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15F7FE-9889-4C1A-96EF-97C893BCEB5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33628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09600" y="6271685"/>
            <a:ext cx="10972800" cy="383116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8774798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66355A-084C-D24E-9AD2-7E4FC41EA627}" type="slidenum">
              <a:rPr lang="en-US" smtClean="0">
                <a:solidFill>
                  <a:srgbClr val="4B3232"/>
                </a:solidFill>
              </a:rPr>
              <a:pPr/>
              <a:t>‹nr.›</a:t>
            </a:fld>
            <a:endParaRPr lang="en-US" dirty="0">
              <a:solidFill>
                <a:srgbClr val="4B323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3037" y="411302"/>
            <a:ext cx="9091084" cy="921381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63035" y="2158583"/>
            <a:ext cx="10758108" cy="362838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>
              <a:solidFill>
                <a:srgbClr val="4B3232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563033" y="1498181"/>
            <a:ext cx="10757331" cy="540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90000"/>
              </a:lnSpc>
              <a:buNone/>
              <a:defRPr sz="2400" b="1" cap="none" baseline="0">
                <a:solidFill>
                  <a:schemeClr val="accent1"/>
                </a:solidFill>
                <a:latin typeface="+mj-lt"/>
                <a:cs typeface="Arial Black"/>
              </a:defRPr>
            </a:lvl1pPr>
            <a:lvl2pPr marL="609579" indent="0">
              <a:buNone/>
              <a:defRPr sz="2667" b="1"/>
            </a:lvl2pPr>
            <a:lvl3pPr marL="1219158" indent="0">
              <a:buNone/>
              <a:defRPr sz="2400" b="1"/>
            </a:lvl3pPr>
            <a:lvl4pPr marL="1828737" indent="0">
              <a:buNone/>
              <a:defRPr sz="2133" b="1"/>
            </a:lvl4pPr>
            <a:lvl5pPr marL="2438316" indent="0">
              <a:buNone/>
              <a:defRPr sz="2133" b="1"/>
            </a:lvl5pPr>
            <a:lvl6pPr marL="3047894" indent="0">
              <a:buNone/>
              <a:defRPr sz="2133" b="1"/>
            </a:lvl6pPr>
            <a:lvl7pPr marL="3657474" indent="0">
              <a:buNone/>
              <a:defRPr sz="2133" b="1"/>
            </a:lvl7pPr>
            <a:lvl8pPr marL="4267053" indent="0">
              <a:buNone/>
              <a:defRPr sz="2133" b="1"/>
            </a:lvl8pPr>
            <a:lvl9pPr marL="4876631" indent="0">
              <a:buNone/>
              <a:defRPr sz="2133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B226139-E7AC-402A-8260-CC6048C14EF4}"/>
              </a:ext>
            </a:extLst>
          </p:cNvPr>
          <p:cNvSpPr txBox="1"/>
          <p:nvPr userDrawn="1"/>
        </p:nvSpPr>
        <p:spPr>
          <a:xfrm>
            <a:off x="7810500" y="5883474"/>
            <a:ext cx="4152900" cy="9058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C71D10-3993-4C62-A4C7-4F281D619F3A}"/>
              </a:ext>
            </a:extLst>
          </p:cNvPr>
          <p:cNvSpPr txBox="1"/>
          <p:nvPr userDrawn="1"/>
        </p:nvSpPr>
        <p:spPr>
          <a:xfrm>
            <a:off x="419100" y="6446698"/>
            <a:ext cx="3086100" cy="3847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4081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400" y="166252"/>
            <a:ext cx="10671048" cy="1019693"/>
          </a:xfrm>
          <a:prstGeom prst="rect">
            <a:avLst/>
          </a:prstGeom>
        </p:spPr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E954D74-3C07-4BE4-AB01-4BDA8823C4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334060"/>
            <a:ext cx="10671048" cy="611473"/>
          </a:xfrm>
        </p:spPr>
        <p:txBody>
          <a:bodyPr/>
          <a:lstStyle>
            <a:lvl1pPr marL="0" indent="0">
              <a:buNone/>
              <a:defRPr b="1">
                <a:solidFill>
                  <a:srgbClr val="91278F"/>
                </a:solidFill>
              </a:defRPr>
            </a:lvl1pPr>
          </a:lstStyle>
          <a:p>
            <a:pPr lvl="0"/>
            <a:r>
              <a:rPr lang="en-US" dirty="0"/>
              <a:t>Click to edit subtitle</a:t>
            </a:r>
            <a:endParaRPr lang="en-GB" dirty="0"/>
          </a:p>
        </p:txBody>
      </p:sp>
      <p:sp>
        <p:nvSpPr>
          <p:cNvPr id="5" name="Footer Placeholder 1">
            <a:extLst>
              <a:ext uri="{FF2B5EF4-FFF2-40B4-BE49-F238E27FC236}">
                <a16:creationId xmlns:a16="http://schemas.microsoft.com/office/drawing/2014/main" id="{FA63B8F0-7442-49E7-ACD7-3206E333B2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9127" y="5955934"/>
            <a:ext cx="10721526" cy="365125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9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D004AD1-1E40-4EA3-8728-D80541F95A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9127" y="6356397"/>
            <a:ext cx="415657" cy="275772"/>
          </a:xfrm>
          <a:prstGeom prst="rect">
            <a:avLst/>
          </a:prstGeom>
        </p:spPr>
        <p:txBody>
          <a:bodyPr rIns="0" anchor="b" anchorCtr="0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fld id="{B687C26E-76E8-F74A-ABD7-29242BE2C250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7220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>
            <a:extLst>
              <a:ext uri="{FF2B5EF4-FFF2-40B4-BE49-F238E27FC236}">
                <a16:creationId xmlns:a16="http://schemas.microsoft.com/office/drawing/2014/main" id="{9278AEF8-679D-41A1-9112-42CCF17041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"/>
            <a:ext cx="12192000" cy="2276475"/>
          </a:xfrm>
          <a:prstGeom prst="rect">
            <a:avLst/>
          </a:prstGeom>
          <a:solidFill>
            <a:srgbClr val="2A5A70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a-DK" altLang="da-DK" sz="1800"/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DC6C1789-AA27-45BB-8523-61ED13AA73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5589588"/>
            <a:ext cx="12213167" cy="1268412"/>
          </a:xfrm>
          <a:prstGeom prst="rect">
            <a:avLst/>
          </a:prstGeom>
          <a:solidFill>
            <a:srgbClr val="2A5A70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endParaRPr lang="en-GB" altLang="da-DK" sz="1400" b="1">
              <a:solidFill>
                <a:schemeClr val="bg1"/>
              </a:solidFill>
            </a:endParaRPr>
          </a:p>
        </p:txBody>
      </p:sp>
      <p:sp>
        <p:nvSpPr>
          <p:cNvPr id="6" name="Rectangle 41">
            <a:extLst>
              <a:ext uri="{FF2B5EF4-FFF2-40B4-BE49-F238E27FC236}">
                <a16:creationId xmlns:a16="http://schemas.microsoft.com/office/drawing/2014/main" id="{93F6F8B6-0815-4E0F-9094-33386C07C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0751" y="5661025"/>
            <a:ext cx="6096000" cy="55508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da-DK" altLang="da-DK" sz="1400" b="1">
                <a:solidFill>
                  <a:schemeClr val="bg1"/>
                </a:solidFill>
                <a:latin typeface="Verdana" pitchFamily="34" charset="0"/>
              </a:rPr>
              <a:t>Aarhus University Hospital </a:t>
            </a:r>
          </a:p>
          <a:p>
            <a:pPr algn="r" eaLnBrk="1" hangingPunct="1">
              <a:lnSpc>
                <a:spcPct val="130000"/>
              </a:lnSpc>
              <a:defRPr/>
            </a:pPr>
            <a:r>
              <a:rPr lang="da-DK" altLang="da-DK" sz="1400">
                <a:solidFill>
                  <a:schemeClr val="bg1"/>
                </a:solidFill>
                <a:latin typeface="Verdana" pitchFamily="34" charset="0"/>
              </a:rPr>
              <a:t>Skejby</a:t>
            </a:r>
          </a:p>
        </p:txBody>
      </p:sp>
      <p:pic>
        <p:nvPicPr>
          <p:cNvPr id="7" name="Picture 43" descr="auhh_eng">
            <a:extLst>
              <a:ext uri="{FF2B5EF4-FFF2-40B4-BE49-F238E27FC236}">
                <a16:creationId xmlns:a16="http://schemas.microsoft.com/office/drawing/2014/main" id="{7FBC4454-677D-4D38-9997-1DFD186C6C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433" y="-100013"/>
            <a:ext cx="3937000" cy="1257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6535" y="908051"/>
            <a:ext cx="8733367" cy="863600"/>
          </a:xfrm>
        </p:spPr>
        <p:txBody>
          <a:bodyPr/>
          <a:lstStyle>
            <a:lvl1pPr>
              <a:lnSpc>
                <a:spcPct val="110000"/>
              </a:lnSpc>
              <a:defRPr sz="27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4420" y="1773248"/>
            <a:ext cx="8614833" cy="769937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under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79959386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466398452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6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</p:spTree>
    <p:extLst>
      <p:ext uri="{BB962C8B-B14F-4D97-AF65-F5344CB8AC3E}">
        <p14:creationId xmlns:p14="http://schemas.microsoft.com/office/powerpoint/2010/main" val="730276315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972098390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96BFBF-62FD-B708-AA52-28D42A5859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B20456FC-42B2-6C05-4524-B291CC7FCD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A1AB018-71EC-DF3D-D25F-364973E482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72B0E-C09B-4693-A89E-D34A74ECA21B}" type="datetimeFigureOut">
              <a:rPr lang="da-DK" smtClean="0"/>
              <a:t>07-06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1F7CAA9-AC5C-2DBF-94FE-D09801EEA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64D1567-9ECE-181B-3DEA-DF0A027E0C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46BE7-77C3-4533-BF30-57BD74EFE84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157660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93378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448561957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</p:spTree>
    <p:extLst>
      <p:ext uri="{BB962C8B-B14F-4D97-AF65-F5344CB8AC3E}">
        <p14:creationId xmlns:p14="http://schemas.microsoft.com/office/powerpoint/2010/main" val="949946518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0624645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</p:spTree>
    <p:extLst>
      <p:ext uri="{BB962C8B-B14F-4D97-AF65-F5344CB8AC3E}">
        <p14:creationId xmlns:p14="http://schemas.microsoft.com/office/powerpoint/2010/main" val="4143403094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2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a-DK" noProof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</p:spTree>
    <p:extLst>
      <p:ext uri="{BB962C8B-B14F-4D97-AF65-F5344CB8AC3E}">
        <p14:creationId xmlns:p14="http://schemas.microsoft.com/office/powerpoint/2010/main" val="1432622007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4191316461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839200" y="414346"/>
            <a:ext cx="2743200" cy="5711825"/>
          </a:xfrm>
        </p:spPr>
        <p:txBody>
          <a:bodyPr vert="eaVert"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609600" y="414346"/>
            <a:ext cx="8026400" cy="5711825"/>
          </a:xfrm>
        </p:spPr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163392488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og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4339"/>
            <a:ext cx="10972800" cy="1143000"/>
          </a:xfrm>
        </p:spPr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diagram 2"/>
          <p:cNvSpPr>
            <a:spLocks noGrp="1"/>
          </p:cNvSpPr>
          <p:nvPr>
            <p:ph type="chart" idx="1"/>
          </p:nvPr>
        </p:nvSpPr>
        <p:spPr>
          <a:xfrm>
            <a:off x="609600" y="1600206"/>
            <a:ext cx="10972800" cy="4525963"/>
          </a:xfrm>
        </p:spPr>
        <p:txBody>
          <a:bodyPr/>
          <a:lstStyle/>
          <a:p>
            <a:pPr lvl="0"/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1998139208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kst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4339"/>
            <a:ext cx="10972800" cy="1143000"/>
          </a:xfrm>
        </p:spPr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226217644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kst og 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4339"/>
            <a:ext cx="10972800" cy="1143000"/>
          </a:xfrm>
        </p:spPr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2"/>
          </p:nvPr>
        </p:nvSpPr>
        <p:spPr>
          <a:xfrm>
            <a:off x="6197600" y="1600203"/>
            <a:ext cx="5384800" cy="2185988"/>
          </a:xfr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indhold 4"/>
          <p:cNvSpPr>
            <a:spLocks noGrp="1"/>
          </p:cNvSpPr>
          <p:nvPr>
            <p:ph sz="quarter" idx="3"/>
          </p:nvPr>
        </p:nvSpPr>
        <p:spPr>
          <a:xfrm>
            <a:off x="6197600" y="3938596"/>
            <a:ext cx="5384800" cy="2187575"/>
          </a:xfr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348848347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FC53411-BFE5-52E2-B5D7-B5864A83E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948B4B7-2AF2-8C50-E72E-7648E0ED431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FA269D7-FEC4-1191-2D52-E380091138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D4CFB212-44E9-6266-4F83-9918300BE0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72B0E-C09B-4693-A89E-D34A74ECA21B}" type="datetimeFigureOut">
              <a:rPr lang="da-DK" smtClean="0"/>
              <a:t>07-06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C5500733-FD5A-6705-4005-CE340742A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735F004-90A2-C1D1-14E1-64A89EA2C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46BE7-77C3-4533-BF30-57BD74EFE84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5888923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9"/>
          <p:cNvSpPr>
            <a:spLocks noGrp="1"/>
          </p:cNvSpPr>
          <p:nvPr>
            <p:ph sz="quarter" idx="14"/>
          </p:nvPr>
        </p:nvSpPr>
        <p:spPr>
          <a:xfrm>
            <a:off x="647701" y="2148170"/>
            <a:ext cx="10915683" cy="389080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647700" y="1673225"/>
            <a:ext cx="10895013" cy="4746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31D85CBE-866B-45DE-B6C3-4D7C3F5961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839385" y="6211889"/>
            <a:ext cx="9052983" cy="346075"/>
          </a:xfrm>
        </p:spPr>
        <p:txBody>
          <a:bodyPr/>
          <a:lstStyle>
            <a:lvl1pPr defTabSz="685800" eaLnBrk="1" fontAlgn="auto" hangingPunct="1">
              <a:spcBef>
                <a:spcPts val="0"/>
              </a:spcBef>
              <a:spcAft>
                <a:spcPts val="0"/>
              </a:spcAft>
              <a:defRPr sz="525">
                <a:solidFill>
                  <a:srgbClr val="001965"/>
                </a:solidFill>
                <a:latin typeface="Apis For Office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D3D9058F-CA69-4865-BC4E-CFBDA657713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218333" y="6354763"/>
            <a:ext cx="323851" cy="125412"/>
          </a:xfrm>
          <a:prstGeom prst="rect">
            <a:avLst/>
          </a:prstGeom>
        </p:spPr>
        <p:txBody>
          <a:bodyPr/>
          <a:lstStyle>
            <a:lvl1pPr defTabSz="685800" eaLnBrk="1" fontAlgn="auto" hangingPunct="1">
              <a:spcBef>
                <a:spcPts val="0"/>
              </a:spcBef>
              <a:spcAft>
                <a:spcPts val="0"/>
              </a:spcAft>
              <a:defRPr sz="525">
                <a:solidFill>
                  <a:srgbClr val="001965"/>
                </a:solidFill>
                <a:latin typeface="Apis For Office"/>
              </a:defRPr>
            </a:lvl1pPr>
          </a:lstStyle>
          <a:p>
            <a:pPr>
              <a:defRPr/>
            </a:pPr>
            <a:fld id="{3E6F8FF6-4CC3-436A-A9B5-5B9EDC8C109D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7378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>
            <a:extLst>
              <a:ext uri="{FF2B5EF4-FFF2-40B4-BE49-F238E27FC236}">
                <a16:creationId xmlns:a16="http://schemas.microsoft.com/office/drawing/2014/main" id="{61ED2516-A165-4E6E-8745-BC5F76FD04A4}"/>
              </a:ext>
            </a:extLst>
          </p:cNvPr>
          <p:cNvSpPr/>
          <p:nvPr userDrawn="1"/>
        </p:nvSpPr>
        <p:spPr bwMode="auto">
          <a:xfrm>
            <a:off x="12041717" y="1393826"/>
            <a:ext cx="150283" cy="54641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8580" tIns="34290" rIns="68580" bIns="34290" anchor="ctr"/>
          <a:lstStyle/>
          <a:p>
            <a:pPr algn="ctr" defTabSz="685800" eaLnBrk="1" hangingPunct="1">
              <a:defRPr/>
            </a:pPr>
            <a:endParaRPr lang="en-GB" sz="1350" b="1" dirty="0" err="1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A9C7E51F-2D82-4003-A862-778BBAA8F9E8}"/>
              </a:ext>
            </a:extLst>
          </p:cNvPr>
          <p:cNvSpPr/>
          <p:nvPr userDrawn="1"/>
        </p:nvSpPr>
        <p:spPr bwMode="auto">
          <a:xfrm>
            <a:off x="12041717" y="1"/>
            <a:ext cx="150283" cy="139382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68580" tIns="34290" rIns="68580" bIns="34290" anchor="ctr"/>
          <a:lstStyle/>
          <a:p>
            <a:pPr algn="ctr" defTabSz="685800" eaLnBrk="1" hangingPunct="1">
              <a:defRPr/>
            </a:pPr>
            <a:endParaRPr lang="en-GB" sz="1350" b="1" dirty="0" err="1">
              <a:solidFill>
                <a:schemeClr val="bg1"/>
              </a:solidFill>
              <a:latin typeface="Arial" charset="0"/>
            </a:endParaRPr>
          </a:p>
        </p:txBody>
      </p:sp>
      <p:pic>
        <p:nvPicPr>
          <p:cNvPr id="8" name="Picture 12">
            <a:extLst>
              <a:ext uri="{FF2B5EF4-FFF2-40B4-BE49-F238E27FC236}">
                <a16:creationId xmlns:a16="http://schemas.microsoft.com/office/drawing/2014/main" id="{E24C6147-06D7-44C5-B15C-0C95636B6BA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167"/>
          <a:stretch>
            <a:fillRect/>
          </a:stretch>
        </p:blipFill>
        <p:spPr bwMode="auto">
          <a:xfrm>
            <a:off x="10293351" y="6176963"/>
            <a:ext cx="1703916" cy="449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215901" y="1254897"/>
            <a:ext cx="11758900" cy="4744251"/>
          </a:xfrm>
          <a:prstGeom prst="rect">
            <a:avLst/>
          </a:prstGeom>
        </p:spPr>
        <p:txBody>
          <a:bodyPr/>
          <a:lstStyle>
            <a:lvl1pPr>
              <a:spcAft>
                <a:spcPts val="450"/>
              </a:spcAft>
              <a:defRPr sz="1500"/>
            </a:lvl1pPr>
            <a:lvl2pPr>
              <a:spcBef>
                <a:spcPts val="0"/>
              </a:spcBef>
              <a:spcAft>
                <a:spcPts val="450"/>
              </a:spcAft>
              <a:defRPr/>
            </a:lvl2pPr>
            <a:lvl3pPr marL="405000">
              <a:spcAft>
                <a:spcPts val="450"/>
              </a:spcAft>
              <a:defRPr/>
            </a:lvl3pPr>
            <a:lvl4pPr marL="540000">
              <a:spcAft>
                <a:spcPts val="450"/>
              </a:spcAft>
              <a:defRPr sz="1050"/>
            </a:lvl4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/>
          </p:nvPr>
        </p:nvSpPr>
        <p:spPr>
          <a:xfrm>
            <a:off x="216000" y="299726"/>
            <a:ext cx="11758800" cy="886278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None/>
              <a:defRPr sz="2100" b="1">
                <a:solidFill>
                  <a:schemeClr val="tx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16002" y="6068043"/>
            <a:ext cx="9996636" cy="713375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buNone/>
              <a:defRPr sz="675">
                <a:solidFill>
                  <a:schemeClr val="tx1"/>
                </a:solidFill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9246119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47"/>
            <a:ext cx="10363200" cy="1470025"/>
          </a:xfrm>
        </p:spPr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B262750-AE82-47D5-A3C7-152B4C5EAD8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196DE872-ED9E-4BBF-A6CC-4BA57A9C2BE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618D6F3A-8A6F-47C6-BF1A-F8145DCD678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8C620A-B6F5-410C-8515-4DFE83E181EC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31890822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BAA9EC3-9815-4FCF-81BB-87764D2B5D19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CFF6B21A-BAD0-4036-B56D-A37F92895A86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252EDBD-5BB7-44F7-ACC4-E782D8D2A9A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964F1F-99C6-4ED3-9021-E37D4728E3D4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37555919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18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6B8D27DC-BD56-482F-B947-7061B1A6B52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5466E91E-3FF8-47BC-A563-9D27F4F4879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3F8DD0C1-7080-4F16-9E2E-804EC714FCF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85CC29-7A2D-4684-B21D-8BDE64CEB873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1422710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F901CCB-DA13-4C0F-9514-21B2BFACFFB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34763A0-FAFA-4F65-B825-445FC24DB427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F35D7CE-3794-42BD-8051-410E4FDA6168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56C512-325F-497F-8E5A-6CEC91459CE3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9220331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93378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12FB4174-DB42-489E-93B7-9813FD2D3E0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68835BF6-9103-4FEB-8E23-E222EBBBC7C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AE674F5E-8164-4423-8EF2-B789B595552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178432-2471-4A4A-87C9-3D3DDF81F00D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281330329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5DA33E02-1337-4763-8A85-9DA02C9C5BE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D3DBAC4D-23CE-40DA-A038-08C73212AA9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9819FD94-D2E8-4EF4-9BF7-DFFD2DA1598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FD18D2-6757-46D8-996B-8AF5F59DD1A5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6423835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4693557B-8698-41F2-A8C6-F7A16A456F06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5DDA6131-8212-4868-8FE8-3CB938F5A9E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52DD5649-EE82-43FC-9428-2CD9BFDF671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D97447-463C-4427-B9A2-311CDE4F4537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942097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7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766733" y="273068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609607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B096FDB-D3E5-4DB2-8240-3A3F6F35E55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AA7CB92-2B12-4A0A-ABF6-72F5F015F7B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DED6B90-1FAD-4527-A8BC-82FD7C589B6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676BD8-FE94-4B4F-8AC3-FD0946B43E85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28771489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F10E85-9AA3-221B-E6C3-9951C51E11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5A07B3B-0C1A-1EB1-7EB0-6A9C454075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3D34B66A-A7BD-15E9-CA65-7CD3AF4846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DCA34C80-DDE8-B21B-25D4-D6576D83C6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B2E6763-14DF-A366-03EC-BD6F51CFF00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6C913924-1809-C28F-264C-A8AFDC44D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72B0E-C09B-4693-A89E-D34A74ECA21B}" type="datetimeFigureOut">
              <a:rPr lang="da-DK" smtClean="0"/>
              <a:t>07-06-2024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A1BBC1CF-37E6-1F26-7AA4-9C3B64C51B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D3F489C1-7A3E-56A0-6CE8-97A49C08F8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46BE7-77C3-4533-BF30-57BD74EFE84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341444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2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a-DK" noProof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79098D3-E362-43F9-B83B-4FDF0DCB1618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062E6DF-E894-40C4-8F1F-49D5AC300548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0AFCCB-9178-4681-82C6-3F61FCA424DD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CF5286-4DCB-4F0B-9286-B39A39B8C1F4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24817716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AF76429-2072-4F80-99CB-DD21C54A60C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290C72B2-AC00-4075-A8B2-21E475DC9DF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DE37653F-9D52-4F41-B5A7-21CBBE9993F2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BBBC35-7CCC-4907-B8BE-C4F94D735703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29617587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839200" y="274653"/>
            <a:ext cx="2743200" cy="5851525"/>
          </a:xfrm>
        </p:spPr>
        <p:txBody>
          <a:bodyPr vert="eaVert"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609600" y="274653"/>
            <a:ext cx="8026400" cy="5851525"/>
          </a:xfrm>
        </p:spPr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53170044-C5DE-4C46-A3A3-7FBC95BEDFFF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C52369FD-705E-4192-A7F4-BB86CE1C7A4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C5B4BFD0-9B05-4437-912C-A5AB28768E27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2CDA3B-86C3-4A7F-B9C4-A5292E7A717D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9414691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indhold 1"/>
          <p:cNvSpPr>
            <a:spLocks noGrp="1"/>
          </p:cNvSpPr>
          <p:nvPr>
            <p:ph/>
          </p:nvPr>
        </p:nvSpPr>
        <p:spPr>
          <a:xfrm>
            <a:off x="609600" y="274653"/>
            <a:ext cx="10972800" cy="5851525"/>
          </a:xfr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AFE00433-8494-4059-BE44-9AB310FEAFA7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BC570645-A8FF-4874-9BFA-714C690E6593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E9259AD3-E9F6-4C89-940D-39753640DF35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11EF2D-A294-4C07-A7B3-1F254A5D792F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63887053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el og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</p:spPr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diagram 2"/>
          <p:cNvSpPr>
            <a:spLocks noGrp="1"/>
          </p:cNvSpPr>
          <p:nvPr>
            <p:ph type="chart" idx="1"/>
          </p:nvPr>
        </p:nvSpPr>
        <p:spPr>
          <a:xfrm>
            <a:off x="609600" y="1600206"/>
            <a:ext cx="10972800" cy="4525963"/>
          </a:xfrm>
        </p:spPr>
        <p:txBody>
          <a:bodyPr/>
          <a:lstStyle/>
          <a:p>
            <a:pPr lvl="0"/>
            <a:endParaRPr lang="da-DK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48C5F0C5-42B0-46D8-A0BB-C001918C2D4E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16D13F49-A6CE-4789-AAD3-55001ED0F75A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44144A68-4BE6-41C9-A5D7-EFC05F8DC7E9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9FBA49-B3B0-4D4F-8B85-D8651B05424F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29975260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el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</p:spPr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abel 2"/>
          <p:cNvSpPr>
            <a:spLocks noGrp="1"/>
          </p:cNvSpPr>
          <p:nvPr>
            <p:ph type="tbl" idx="1"/>
          </p:nvPr>
        </p:nvSpPr>
        <p:spPr>
          <a:xfrm>
            <a:off x="609600" y="1600206"/>
            <a:ext cx="10972800" cy="4525963"/>
          </a:xfrm>
        </p:spPr>
        <p:txBody>
          <a:bodyPr/>
          <a:lstStyle/>
          <a:p>
            <a:pPr lvl="0"/>
            <a:endParaRPr lang="da-DK" noProof="0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E6D96E97-AA5E-43BF-A393-3EDC5C4B8C0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357FA7AB-4B48-4AB1-B2CF-324EE14C5472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7B1C9A1A-50BA-4B72-B502-84509CE58CD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B117BA-3F2E-4325-84CE-D292928846B1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5100260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>
            <a:extLst>
              <a:ext uri="{FF2B5EF4-FFF2-40B4-BE49-F238E27FC236}">
                <a16:creationId xmlns:a16="http://schemas.microsoft.com/office/drawing/2014/main" id="{808BBCF4-4305-425F-814F-B055EE088F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"/>
            <a:ext cx="12192000" cy="2276475"/>
          </a:xfrm>
          <a:prstGeom prst="rect">
            <a:avLst/>
          </a:prstGeom>
          <a:solidFill>
            <a:srgbClr val="2A5A70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a-DK" altLang="da-DK" sz="1800">
              <a:solidFill>
                <a:srgbClr val="000000"/>
              </a:solidFill>
            </a:endParaRPr>
          </a:p>
        </p:txBody>
      </p:sp>
      <p:sp>
        <p:nvSpPr>
          <p:cNvPr id="5" name="Rectangle 24">
            <a:extLst>
              <a:ext uri="{FF2B5EF4-FFF2-40B4-BE49-F238E27FC236}">
                <a16:creationId xmlns:a16="http://schemas.microsoft.com/office/drawing/2014/main" id="{2CF2EBA6-178C-4CFD-8099-1ACA1CF33E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5589588"/>
            <a:ext cx="12213167" cy="1268412"/>
          </a:xfrm>
          <a:prstGeom prst="rect">
            <a:avLst/>
          </a:prstGeom>
          <a:solidFill>
            <a:srgbClr val="2A5A70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endParaRPr lang="en-GB" altLang="da-DK" sz="1400" b="1">
              <a:solidFill>
                <a:srgbClr val="FFFFFF"/>
              </a:solidFill>
            </a:endParaRPr>
          </a:p>
        </p:txBody>
      </p:sp>
      <p:sp>
        <p:nvSpPr>
          <p:cNvPr id="6" name="Rectangle 41">
            <a:extLst>
              <a:ext uri="{FF2B5EF4-FFF2-40B4-BE49-F238E27FC236}">
                <a16:creationId xmlns:a16="http://schemas.microsoft.com/office/drawing/2014/main" id="{68761288-70AF-4E1C-9312-E92275F29D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0751" y="5661025"/>
            <a:ext cx="6096000" cy="55508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da-DK" altLang="da-DK" sz="1400" b="1">
                <a:solidFill>
                  <a:srgbClr val="FFFFFF"/>
                </a:solidFill>
                <a:latin typeface="Verdana" pitchFamily="34" charset="0"/>
              </a:rPr>
              <a:t>Aarhus University Hospital </a:t>
            </a:r>
          </a:p>
          <a:p>
            <a:pPr algn="r" eaLnBrk="1" hangingPunct="1">
              <a:lnSpc>
                <a:spcPct val="130000"/>
              </a:lnSpc>
              <a:defRPr/>
            </a:pPr>
            <a:r>
              <a:rPr lang="da-DK" altLang="da-DK" sz="1400">
                <a:solidFill>
                  <a:srgbClr val="FFFFFF"/>
                </a:solidFill>
                <a:latin typeface="Verdana" pitchFamily="34" charset="0"/>
              </a:rPr>
              <a:t>Skejby</a:t>
            </a:r>
          </a:p>
        </p:txBody>
      </p:sp>
      <p:pic>
        <p:nvPicPr>
          <p:cNvPr id="7" name="Picture 43" descr="auhh_eng">
            <a:extLst>
              <a:ext uri="{FF2B5EF4-FFF2-40B4-BE49-F238E27FC236}">
                <a16:creationId xmlns:a16="http://schemas.microsoft.com/office/drawing/2014/main" id="{32233B7C-CEAE-4962-B86C-9646CCC945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8433" y="-100013"/>
            <a:ext cx="3937000" cy="1257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26535" y="908051"/>
            <a:ext cx="8733367" cy="863600"/>
          </a:xfrm>
        </p:spPr>
        <p:txBody>
          <a:bodyPr/>
          <a:lstStyle>
            <a:lvl1pPr>
              <a:lnSpc>
                <a:spcPct val="110000"/>
              </a:lnSpc>
              <a:defRPr sz="27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24420" y="1773248"/>
            <a:ext cx="8614833" cy="769937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under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84730969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933033134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6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</p:spTree>
    <p:extLst>
      <p:ext uri="{BB962C8B-B14F-4D97-AF65-F5344CB8AC3E}">
        <p14:creationId xmlns:p14="http://schemas.microsoft.com/office/powerpoint/2010/main" val="508906517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290669914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6D12A7-F44E-A745-F8BA-C63E524626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ECA42148-6CE3-2821-64C1-8FB9856185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72B0E-C09B-4693-A89E-D34A74ECA21B}" type="datetimeFigureOut">
              <a:rPr lang="da-DK" smtClean="0"/>
              <a:t>07-06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F68DB4B7-6932-ACA2-B8DB-EE731BB8D3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6015D1F-815B-AEDE-C782-602C73EC4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46BE7-77C3-4533-BF30-57BD74EFE84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52408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93378" y="1535114"/>
            <a:ext cx="5389033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90044202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</p:spTree>
    <p:extLst>
      <p:ext uri="{BB962C8B-B14F-4D97-AF65-F5344CB8AC3E}">
        <p14:creationId xmlns:p14="http://schemas.microsoft.com/office/powerpoint/2010/main" val="3012814550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6754199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766733" y="273058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</p:spTree>
    <p:extLst>
      <p:ext uri="{BB962C8B-B14F-4D97-AF65-F5344CB8AC3E}">
        <p14:creationId xmlns:p14="http://schemas.microsoft.com/office/powerpoint/2010/main" val="2660991451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2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a-DK" noProof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</p:spTree>
    <p:extLst>
      <p:ext uri="{BB962C8B-B14F-4D97-AF65-F5344CB8AC3E}">
        <p14:creationId xmlns:p14="http://schemas.microsoft.com/office/powerpoint/2010/main" val="3214789103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853647362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839200" y="414346"/>
            <a:ext cx="2743200" cy="5711825"/>
          </a:xfrm>
        </p:spPr>
        <p:txBody>
          <a:bodyPr vert="eaVert"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609600" y="414346"/>
            <a:ext cx="8026400" cy="5711825"/>
          </a:xfrm>
        </p:spPr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042527311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og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4339"/>
            <a:ext cx="10972800" cy="1143000"/>
          </a:xfrm>
        </p:spPr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diagram 2"/>
          <p:cNvSpPr>
            <a:spLocks noGrp="1"/>
          </p:cNvSpPr>
          <p:nvPr>
            <p:ph type="chart" idx="1"/>
          </p:nvPr>
        </p:nvSpPr>
        <p:spPr>
          <a:xfrm>
            <a:off x="609600" y="1600206"/>
            <a:ext cx="10972800" cy="4525963"/>
          </a:xfrm>
        </p:spPr>
        <p:txBody>
          <a:bodyPr/>
          <a:lstStyle/>
          <a:p>
            <a:pPr lvl="0"/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2405894008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kst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4339"/>
            <a:ext cx="10972800" cy="1143000"/>
          </a:xfrm>
        </p:spPr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97600" y="1600206"/>
            <a:ext cx="5384800" cy="4525963"/>
          </a:xfr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693889087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kst og 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414339"/>
            <a:ext cx="10972800" cy="1143000"/>
          </a:xfrm>
        </p:spPr>
        <p:txBody>
          <a:bodyPr/>
          <a:lstStyle/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half" idx="1"/>
          </p:nvPr>
        </p:nvSpPr>
        <p:spPr>
          <a:xfrm>
            <a:off x="609600" y="1600206"/>
            <a:ext cx="5384800" cy="4525963"/>
          </a:xfr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2"/>
          </p:nvPr>
        </p:nvSpPr>
        <p:spPr>
          <a:xfrm>
            <a:off x="6197600" y="1600203"/>
            <a:ext cx="5384800" cy="2185988"/>
          </a:xfr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indhold 4"/>
          <p:cNvSpPr>
            <a:spLocks noGrp="1"/>
          </p:cNvSpPr>
          <p:nvPr>
            <p:ph sz="quarter" idx="3"/>
          </p:nvPr>
        </p:nvSpPr>
        <p:spPr>
          <a:xfrm>
            <a:off x="6197600" y="3938596"/>
            <a:ext cx="5384800" cy="2187575"/>
          </a:xfr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335150925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88B62EDC-1CAF-9A48-2DE0-54B1DCB4EA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72B0E-C09B-4693-A89E-D34A74ECA21B}" type="datetimeFigureOut">
              <a:rPr lang="da-DK" smtClean="0"/>
              <a:t>07-06-2024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D6B7E816-89BD-F438-3A30-DE0DCD02D0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91D3E363-3CF2-9212-F901-3169A15B10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46BE7-77C3-4533-BF30-57BD74EFE84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0728224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DC683B7-9B31-4E1E-92BB-7E17830E0A6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E93738A-CDA2-4E64-ADD7-01767694C00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991851" y="6165850"/>
            <a:ext cx="431800" cy="603250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01D24D69-38AF-449C-86AB-AB198B1B7E89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5407667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7988" y="260353"/>
            <a:ext cx="11449051" cy="792161"/>
          </a:xfrm>
        </p:spPr>
        <p:txBody>
          <a:bodyPr anchor="b"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988" y="1124746"/>
            <a:ext cx="11449051" cy="406623"/>
          </a:xfrm>
        </p:spPr>
        <p:txBody>
          <a:bodyPr anchor="ctr"/>
          <a:lstStyle>
            <a:lvl1pPr marL="0" indent="0">
              <a:buNone/>
              <a:defRPr sz="1350" b="0">
                <a:solidFill>
                  <a:schemeClr val="accent1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988" y="1700214"/>
            <a:ext cx="11449051" cy="432117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03978865-8686-4773-8A9C-222E6D87A2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6DC61FFD-32ED-43EC-80E0-E21864A8C3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991851" y="6165850"/>
            <a:ext cx="431800" cy="603250"/>
          </a:xfrm>
          <a:prstGeom prst="rect">
            <a:avLst/>
          </a:prstGeom>
        </p:spPr>
        <p:txBody>
          <a:bodyPr/>
          <a:lstStyle>
            <a:lvl1pPr eaLnBrk="1" hangingPunct="1">
              <a:defRPr/>
            </a:lvl1pPr>
          </a:lstStyle>
          <a:p>
            <a:pPr>
              <a:defRPr/>
            </a:pPr>
            <a:fld id="{6F01F18C-CA3D-45D2-9C76-6E3BF6EBD2B9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351933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rmal_no ban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3358" y="6019901"/>
            <a:ext cx="11355324" cy="582431"/>
          </a:xfrm>
        </p:spPr>
        <p:txBody>
          <a:bodyPr anchor="b">
            <a:noAutofit/>
          </a:bodyPr>
          <a:lstStyle>
            <a:lvl1pPr marL="0" indent="0">
              <a:buNone/>
              <a:defRPr sz="800">
                <a:solidFill>
                  <a:srgbClr val="AEA79F"/>
                </a:solidFill>
              </a:defRPr>
            </a:lvl1pPr>
            <a:lvl2pPr>
              <a:defRPr sz="800">
                <a:solidFill>
                  <a:srgbClr val="82786F"/>
                </a:solidFill>
              </a:defRPr>
            </a:lvl2pPr>
            <a:lvl3pPr>
              <a:defRPr sz="800">
                <a:solidFill>
                  <a:srgbClr val="82786F"/>
                </a:solidFill>
              </a:defRPr>
            </a:lvl3pPr>
            <a:lvl4pPr>
              <a:defRPr sz="800">
                <a:solidFill>
                  <a:srgbClr val="82786F"/>
                </a:solidFill>
              </a:defRPr>
            </a:lvl4pPr>
            <a:lvl5pPr>
              <a:defRPr sz="800">
                <a:solidFill>
                  <a:srgbClr val="82786F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422400" y="638143"/>
            <a:ext cx="113472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C6444B0B-B703-489B-AEBD-A6920656B330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7901518" y="125414"/>
            <a:ext cx="3867149" cy="134937"/>
          </a:xfrm>
        </p:spPr>
        <p:txBody>
          <a:bodyPr wrap="square" tIns="0" bIns="0" numCol="1" anchor="ctr" anchorCtr="0" compatLnSpc="1">
            <a:prstTxWarp prst="textNoShape">
              <a:avLst/>
            </a:prstTxWarp>
          </a:bodyPr>
          <a:lstStyle>
            <a:lvl1pPr algn="r" defTabSz="878525" eaLnBrk="1" hangingPunct="1">
              <a:lnSpc>
                <a:spcPct val="100000"/>
              </a:lnSpc>
              <a:spcBef>
                <a:spcPct val="0"/>
              </a:spcBef>
              <a:defRPr sz="600" b="0"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r>
              <a:rPr lang="en-US"/>
              <a:t>PIONEER 1 &amp; 5 Breakout │ PIONEER GRM EU v1.0 Final 20181107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4163441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3358" y="6019901"/>
            <a:ext cx="11355324" cy="582431"/>
          </a:xfrm>
        </p:spPr>
        <p:txBody>
          <a:bodyPr anchor="b">
            <a:noAutofit/>
          </a:bodyPr>
          <a:lstStyle>
            <a:lvl1pPr marL="0" indent="0">
              <a:buNone/>
              <a:defRPr sz="800">
                <a:solidFill>
                  <a:srgbClr val="AEA79F"/>
                </a:solidFill>
              </a:defRPr>
            </a:lvl1pPr>
            <a:lvl2pPr>
              <a:defRPr sz="800">
                <a:solidFill>
                  <a:srgbClr val="82786F"/>
                </a:solidFill>
              </a:defRPr>
            </a:lvl2pPr>
            <a:lvl3pPr>
              <a:defRPr sz="800">
                <a:solidFill>
                  <a:srgbClr val="82786F"/>
                </a:solidFill>
              </a:defRPr>
            </a:lvl3pPr>
            <a:lvl4pPr>
              <a:defRPr sz="800">
                <a:solidFill>
                  <a:srgbClr val="82786F"/>
                </a:solidFill>
              </a:defRPr>
            </a:lvl4pPr>
            <a:lvl5pPr>
              <a:defRPr sz="800">
                <a:solidFill>
                  <a:srgbClr val="82786F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422400" y="638143"/>
            <a:ext cx="113472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AFA10981-EE98-4BA2-AE7D-20C2C74E51A1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7901518" y="125414"/>
            <a:ext cx="3867149" cy="134937"/>
          </a:xfrm>
        </p:spPr>
        <p:txBody>
          <a:bodyPr wrap="square" tIns="0" bIns="0" numCol="1" anchor="ctr" anchorCtr="0" compatLnSpc="1">
            <a:prstTxWarp prst="textNoShape">
              <a:avLst/>
            </a:prstTxWarp>
          </a:bodyPr>
          <a:lstStyle>
            <a:lvl1pPr algn="r" defTabSz="878525" eaLnBrk="1" hangingPunct="1">
              <a:spcBef>
                <a:spcPct val="0"/>
              </a:spcBef>
              <a:defRPr sz="600" b="0"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4159213816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543984" y="1209114"/>
            <a:ext cx="11225616" cy="266301"/>
          </a:xfrm>
        </p:spPr>
        <p:txBody>
          <a:bodyPr wrap="none" lIns="17999" anchor="ctr"/>
          <a:lstStyle>
            <a:lvl1pPr marL="0" indent="0" algn="l">
              <a:buFontTx/>
              <a:buNone/>
              <a:defRPr sz="1400" baseline="0">
                <a:solidFill>
                  <a:srgbClr val="009FDA"/>
                </a:solidFill>
              </a:defRPr>
            </a:lvl1pPr>
          </a:lstStyle>
          <a:p>
            <a:pPr lvl="0"/>
            <a:r>
              <a:rPr lang="da-DK" noProof="0"/>
              <a:t>Klik for at redigere undertiteltypografien i masteren</a:t>
            </a:r>
            <a:endParaRPr lang="en-GB" noProof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47755" y="687230"/>
            <a:ext cx="11221844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8"/>
          </p:nvPr>
        </p:nvSpPr>
        <p:spPr>
          <a:xfrm>
            <a:off x="547763" y="6167521"/>
            <a:ext cx="11221847" cy="391583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rgbClr val="82786F"/>
                </a:solidFill>
              </a:defRPr>
            </a:lvl1pPr>
            <a:lvl2pPr marL="265046" indent="0">
              <a:buNone/>
              <a:defRPr sz="900"/>
            </a:lvl2pPr>
            <a:lvl3pPr marL="536426" indent="0">
              <a:buNone/>
              <a:defRPr sz="900"/>
            </a:lvl3pPr>
            <a:lvl4pPr marL="807818" indent="0">
              <a:buNone/>
              <a:defRPr sz="900"/>
            </a:lvl4pPr>
            <a:lvl5pPr marL="1072853" indent="0">
              <a:buNone/>
              <a:defRPr sz="9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Rectangle 23">
            <a:extLst>
              <a:ext uri="{FF2B5EF4-FFF2-40B4-BE49-F238E27FC236}">
                <a16:creationId xmlns:a16="http://schemas.microsoft.com/office/drawing/2014/main" id="{09B17116-57BF-4888-88B3-EB242482EFFD}"/>
              </a:ext>
            </a:extLst>
          </p:cNvPr>
          <p:cNvSpPr>
            <a:spLocks noGrp="1" noChangeArrowheads="1"/>
          </p:cNvSpPr>
          <p:nvPr>
            <p:ph type="sldNum" sz="quarter" idx="19"/>
          </p:nvPr>
        </p:nvSpPr>
        <p:spPr>
          <a:xfrm>
            <a:off x="11353800" y="139700"/>
            <a:ext cx="414867" cy="134938"/>
          </a:xfrm>
          <a:prstGeom prst="rect">
            <a:avLst/>
          </a:prstGeom>
        </p:spPr>
        <p:txBody>
          <a:bodyPr lIns="91428" tIns="45714" rIns="91428" bIns="45714"/>
          <a:lstStyle>
            <a:lvl1pPr eaLnBrk="1" hangingPunct="1">
              <a:defRPr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fld id="{8B7F501F-041A-44F3-AD9D-52127BE75E90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2475254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/>
          </a:p>
        </p:txBody>
      </p:sp>
      <p:sp>
        <p:nvSpPr>
          <p:cNvPr id="11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6A6FFBE2-BB6D-4C56-9801-2176D863456B}"/>
              </a:ext>
            </a:extLst>
          </p:cNvPr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10"/>
            <p:custDataLst>
              <p:tags r:id="rId1"/>
            </p:custDataLst>
          </p:nvPr>
        </p:nvSpPr>
        <p:spPr bwMode="auto">
          <a:xfrm>
            <a:off x="5564718" y="138114"/>
            <a:ext cx="3867149" cy="136525"/>
          </a:xfrm>
        </p:spPr>
        <p:txBody>
          <a:bodyPr wrap="square" tIns="0" bIns="0" numCol="1" anchor="ctr" anchorCtr="0" compatLnSpc="1">
            <a:prstTxWarp prst="textNoShape">
              <a:avLst/>
            </a:prstTxWarp>
          </a:bodyPr>
          <a:lstStyle>
            <a:lvl1pPr algn="r" defTabSz="878899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/>
              <a:t>                       </a:t>
            </a:r>
          </a:p>
        </p:txBody>
      </p:sp>
      <p:sp>
        <p:nvSpPr>
          <p:cNvPr id="5" name="Rectangle 81">
            <a:extLst>
              <a:ext uri="{FF2B5EF4-FFF2-40B4-BE49-F238E27FC236}">
                <a16:creationId xmlns:a16="http://schemas.microsoft.com/office/drawing/2014/main" id="{FDAC75E3-BC96-47F3-9D37-FCE28685F06F}"/>
              </a:ext>
            </a:extLst>
          </p:cNvPr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11"/>
            <p:custDataLst>
              <p:tags r:id="rId2"/>
            </p:custDataLst>
          </p:nvPr>
        </p:nvSpPr>
        <p:spPr bwMode="auto">
          <a:xfrm>
            <a:off x="9582151" y="138114"/>
            <a:ext cx="1602316" cy="1365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899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/>
              <a:t>    </a:t>
            </a:r>
            <a:endParaRPr lang="en-GB"/>
          </a:p>
        </p:txBody>
      </p:sp>
      <p:sp>
        <p:nvSpPr>
          <p:cNvPr id="7" name="Slide Number Placeholder 23">
            <a:extLst>
              <a:ext uri="{FF2B5EF4-FFF2-40B4-BE49-F238E27FC236}">
                <a16:creationId xmlns:a16="http://schemas.microsoft.com/office/drawing/2014/main" id="{6B7E05C3-4529-4ECA-806B-B7BE37597AF2}"/>
              </a:ext>
            </a:extLst>
          </p:cNvPr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12"/>
            <p:custDataLst>
              <p:tags r:id="rId3"/>
            </p:custDataLst>
          </p:nvPr>
        </p:nvSpPr>
        <p:spPr bwMode="auto">
          <a:xfrm>
            <a:off x="11353800" y="139701"/>
            <a:ext cx="414867" cy="1365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66" eaLnBrk="1" hangingPunct="1"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F46FA987-F3C2-486E-B503-7F83F726035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6570913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>
            <a:extLst>
              <a:ext uri="{FF2B5EF4-FFF2-40B4-BE49-F238E27FC236}">
                <a16:creationId xmlns:a16="http://schemas.microsoft.com/office/drawing/2014/main" id="{242676A9-CCA9-4683-92C7-A014816095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7517" y="-115888"/>
            <a:ext cx="973667" cy="1108076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CA" altLang="da-DK" sz="6600" b="1">
                <a:solidFill>
                  <a:srgbClr val="FFFFFF"/>
                </a:solidFill>
                <a:latin typeface="Verdana" panose="020B0604030504040204" pitchFamily="34" charset="0"/>
              </a:rPr>
              <a:t>1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"/>
          </p:nvPr>
        </p:nvSpPr>
        <p:spPr>
          <a:xfrm>
            <a:off x="1390652" y="1749631"/>
            <a:ext cx="10378949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404331" y="6019901"/>
            <a:ext cx="10374348" cy="582431"/>
          </a:xfrm>
        </p:spPr>
        <p:txBody>
          <a:bodyPr anchor="b">
            <a:noAutofit/>
          </a:bodyPr>
          <a:lstStyle>
            <a:lvl1pPr marL="0" indent="0">
              <a:buNone/>
              <a:defRPr sz="800">
                <a:solidFill>
                  <a:srgbClr val="AEA79F"/>
                </a:solidFill>
              </a:defRPr>
            </a:lvl1pPr>
            <a:lvl2pPr>
              <a:defRPr sz="800">
                <a:solidFill>
                  <a:srgbClr val="82786F"/>
                </a:solidFill>
              </a:defRPr>
            </a:lvl2pPr>
            <a:lvl3pPr>
              <a:defRPr sz="800">
                <a:solidFill>
                  <a:srgbClr val="82786F"/>
                </a:solidFill>
              </a:defRPr>
            </a:lvl3pPr>
            <a:lvl4pPr>
              <a:defRPr sz="800">
                <a:solidFill>
                  <a:srgbClr val="82786F"/>
                </a:solidFill>
              </a:defRPr>
            </a:lvl4pPr>
            <a:lvl5pPr>
              <a:defRPr sz="800">
                <a:solidFill>
                  <a:srgbClr val="82786F"/>
                </a:solidFill>
              </a:defRPr>
            </a:lvl5pPr>
          </a:lstStyle>
          <a:p>
            <a:pPr lvl="0"/>
            <a:endParaRPr lang="en-US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390651" y="687230"/>
            <a:ext cx="10378948" cy="52188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a-DK" noProof="0"/>
              <a:t>Klik for at redigere titeltypografien i masteren</a:t>
            </a:r>
            <a:endParaRPr lang="en-GB" noProof="0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FCA1B4FD-9C74-4905-8114-D6CFD2E862E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7901518" y="125414"/>
            <a:ext cx="3867149" cy="134937"/>
          </a:xfrm>
        </p:spPr>
        <p:txBody>
          <a:bodyPr wrap="square" tIns="0" bIns="0" numCol="1" anchor="ctr" anchorCtr="0" compatLnSpc="1">
            <a:prstTxWarp prst="textNoShape">
              <a:avLst/>
            </a:prstTxWarp>
          </a:bodyPr>
          <a:lstStyle>
            <a:lvl1pPr algn="r" defTabSz="878525" eaLnBrk="1" hangingPunct="1">
              <a:lnSpc>
                <a:spcPct val="100000"/>
              </a:lnSpc>
              <a:spcBef>
                <a:spcPct val="0"/>
              </a:spcBef>
              <a:defRPr sz="600" b="0">
                <a:solidFill>
                  <a:srgbClr val="82786F"/>
                </a:solidFill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3866538239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EC0AD9-604F-42C4-B782-2860221854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hangingPunct="1">
              <a:defRPr>
                <a:solidFill>
                  <a:srgbClr val="001965"/>
                </a:solidFill>
              </a:defRPr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977DBC-B9D1-4274-9323-24D149E744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1965"/>
                </a:solidFill>
              </a:defRPr>
            </a:lvl1pPr>
          </a:lstStyle>
          <a:p>
            <a:pPr>
              <a:defRPr/>
            </a:pPr>
            <a:r>
              <a:rPr lang="en-GB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6BE328-0942-4A1F-8780-DFE1F82685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1851" y="6165850"/>
            <a:ext cx="431800" cy="603250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solidFill>
                  <a:srgbClr val="001965"/>
                </a:solidFill>
              </a:defRPr>
            </a:lvl1pPr>
          </a:lstStyle>
          <a:p>
            <a:pPr>
              <a:defRPr/>
            </a:pPr>
            <a:r>
              <a:rPr lang="en-GB"/>
              <a:t>Slide No. </a:t>
            </a:r>
            <a:fld id="{D69DF1A1-6ECB-4C3F-B83D-E31FC2E1B04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8407303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subTitle" idx="14"/>
          </p:nvPr>
        </p:nvSpPr>
        <p:spPr>
          <a:xfrm>
            <a:off x="614892" y="974467"/>
            <a:ext cx="11008784" cy="264091"/>
          </a:xfrm>
        </p:spPr>
        <p:txBody>
          <a:bodyPr wrap="none" lIns="18000" anchor="ctr"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noProof="0"/>
              <a:t>Klik for at redigere undertiteltypografien i masteren</a:t>
            </a:r>
            <a:endParaRPr lang="en-GB" noProof="0"/>
          </a:p>
        </p:txBody>
      </p:sp>
      <p:sp>
        <p:nvSpPr>
          <p:cNvPr id="11" name="Title 6"/>
          <p:cNvSpPr>
            <a:spLocks noGrp="1"/>
          </p:cNvSpPr>
          <p:nvPr>
            <p:ph type="title"/>
          </p:nvPr>
        </p:nvSpPr>
        <p:spPr>
          <a:xfrm>
            <a:off x="614400" y="446400"/>
            <a:ext cx="10992000" cy="523200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14400" y="6145768"/>
            <a:ext cx="11008784" cy="497417"/>
          </a:xfrm>
        </p:spPr>
        <p:txBody>
          <a:bodyPr anchor="b"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  <a:lvl2pPr marL="541325" indent="0">
              <a:buNone/>
              <a:defRPr/>
            </a:lvl2pPr>
            <a:lvl3pPr marL="1076298" indent="0">
              <a:buNone/>
              <a:defRPr/>
            </a:lvl3pPr>
            <a:lvl4pPr marL="1616035" indent="0">
              <a:buNone/>
              <a:defRPr/>
            </a:lvl4pPr>
            <a:lvl5pPr marL="2155771" indent="0"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735313046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| Subtitle | Content |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D6CBD438-5E49-4F18-9D07-4D4F6CD33DC3}"/>
              </a:ext>
            </a:extLst>
          </p:cNvPr>
          <p:cNvSpPr>
            <a:spLocks/>
          </p:cNvSpPr>
          <p:nvPr userDrawn="1"/>
        </p:nvSpPr>
        <p:spPr bwMode="gray">
          <a:xfrm>
            <a:off x="11173884" y="322263"/>
            <a:ext cx="700616" cy="500062"/>
          </a:xfrm>
          <a:custGeom>
            <a:avLst/>
            <a:gdLst>
              <a:gd name="T0" fmla="*/ 379269 w 5293529"/>
              <a:gd name="T1" fmla="*/ 439632 h 3773692"/>
              <a:gd name="T2" fmla="*/ 285329 w 5293529"/>
              <a:gd name="T3" fmla="*/ 492226 h 3773692"/>
              <a:gd name="T4" fmla="*/ 153842 w 5293529"/>
              <a:gd name="T5" fmla="*/ 438952 h 3773692"/>
              <a:gd name="T6" fmla="*/ 171354 w 5293529"/>
              <a:gd name="T7" fmla="*/ 438952 h 3773692"/>
              <a:gd name="T8" fmla="*/ 70914 w 5293529"/>
              <a:gd name="T9" fmla="*/ 492226 h 3773692"/>
              <a:gd name="T10" fmla="*/ 406758 w 5293529"/>
              <a:gd name="T11" fmla="*/ 428515 h 3773692"/>
              <a:gd name="T12" fmla="*/ 399805 w 5293529"/>
              <a:gd name="T13" fmla="*/ 430944 h 3773692"/>
              <a:gd name="T14" fmla="*/ 477873 w 5293529"/>
              <a:gd name="T15" fmla="*/ 460711 h 3773692"/>
              <a:gd name="T16" fmla="*/ 486549 w 5293529"/>
              <a:gd name="T17" fmla="*/ 495950 h 3773692"/>
              <a:gd name="T18" fmla="*/ 96519 w 5293529"/>
              <a:gd name="T19" fmla="*/ 428181 h 3773692"/>
              <a:gd name="T20" fmla="*/ 137777 w 5293529"/>
              <a:gd name="T21" fmla="*/ 428181 h 3773692"/>
              <a:gd name="T22" fmla="*/ 113732 w 5293529"/>
              <a:gd name="T23" fmla="*/ 495928 h 3773692"/>
              <a:gd name="T24" fmla="*/ 445469 w 5293529"/>
              <a:gd name="T25" fmla="*/ 439848 h 3773692"/>
              <a:gd name="T26" fmla="*/ 420260 w 5293529"/>
              <a:gd name="T27" fmla="*/ 485168 h 3773692"/>
              <a:gd name="T28" fmla="*/ 330775 w 5293529"/>
              <a:gd name="T29" fmla="*/ 426626 h 3773692"/>
              <a:gd name="T30" fmla="*/ 321752 w 5293529"/>
              <a:gd name="T31" fmla="*/ 497601 h 3773692"/>
              <a:gd name="T32" fmla="*/ 285337 w 5293529"/>
              <a:gd name="T33" fmla="*/ 426626 h 3773692"/>
              <a:gd name="T34" fmla="*/ 262731 w 5293529"/>
              <a:gd name="T35" fmla="*/ 463474 h 3773692"/>
              <a:gd name="T36" fmla="*/ 253918 w 5293529"/>
              <a:gd name="T37" fmla="*/ 497979 h 3773692"/>
              <a:gd name="T38" fmla="*/ 223599 w 5293529"/>
              <a:gd name="T39" fmla="*/ 495281 h 3773692"/>
              <a:gd name="T40" fmla="*/ 234692 w 5293529"/>
              <a:gd name="T41" fmla="*/ 426626 h 3773692"/>
              <a:gd name="T42" fmla="*/ 149427 w 5293529"/>
              <a:gd name="T43" fmla="*/ 495184 h 3773692"/>
              <a:gd name="T44" fmla="*/ 93625 w 5293529"/>
              <a:gd name="T45" fmla="*/ 463474 h 3773692"/>
              <a:gd name="T46" fmla="*/ 70922 w 5293529"/>
              <a:gd name="T47" fmla="*/ 426626 h 3773692"/>
              <a:gd name="T48" fmla="*/ 31515 w 5293529"/>
              <a:gd name="T49" fmla="*/ 495281 h 3773692"/>
              <a:gd name="T50" fmla="*/ 1827 w 5293529"/>
              <a:gd name="T51" fmla="*/ 497979 h 3773692"/>
              <a:gd name="T52" fmla="*/ 385971 w 5293529"/>
              <a:gd name="T53" fmla="*/ 403303 h 3773692"/>
              <a:gd name="T54" fmla="*/ 379172 w 5293529"/>
              <a:gd name="T55" fmla="*/ 430760 h 3773692"/>
              <a:gd name="T56" fmla="*/ 467185 w 5293529"/>
              <a:gd name="T57" fmla="*/ 495939 h 3773692"/>
              <a:gd name="T58" fmla="*/ 404478 w 5293529"/>
              <a:gd name="T59" fmla="*/ 402277 h 3773692"/>
              <a:gd name="T60" fmla="*/ 505330 w 5293529"/>
              <a:gd name="T61" fmla="*/ 389660 h 3773692"/>
              <a:gd name="T62" fmla="*/ 508783 w 5293529"/>
              <a:gd name="T63" fmla="*/ 379515 h 3773692"/>
              <a:gd name="T64" fmla="*/ 511184 w 5293529"/>
              <a:gd name="T65" fmla="*/ 392358 h 3773692"/>
              <a:gd name="T66" fmla="*/ 512332 w 5293529"/>
              <a:gd name="T67" fmla="*/ 399029 h 3773692"/>
              <a:gd name="T68" fmla="*/ 509454 w 5293529"/>
              <a:gd name="T69" fmla="*/ 373104 h 3773692"/>
              <a:gd name="T70" fmla="*/ 525462 w 5293529"/>
              <a:gd name="T71" fmla="*/ 390945 h 3773692"/>
              <a:gd name="T72" fmla="*/ 345772 w 5293529"/>
              <a:gd name="T73" fmla="*/ 278136 h 3773692"/>
              <a:gd name="T74" fmla="*/ 239875 w 5293529"/>
              <a:gd name="T75" fmla="*/ 212104 h 3773692"/>
              <a:gd name="T76" fmla="*/ 305113 w 5293529"/>
              <a:gd name="T77" fmla="*/ 179153 h 3773692"/>
              <a:gd name="T78" fmla="*/ 202409 w 5293529"/>
              <a:gd name="T79" fmla="*/ 212115 h 3773692"/>
              <a:gd name="T80" fmla="*/ 183959 w 5293529"/>
              <a:gd name="T81" fmla="*/ 263652 h 3773692"/>
              <a:gd name="T82" fmla="*/ 322132 w 5293529"/>
              <a:gd name="T83" fmla="*/ 176207 h 3773692"/>
              <a:gd name="T84" fmla="*/ 244014 w 5293529"/>
              <a:gd name="T85" fmla="*/ 229157 h 3773692"/>
              <a:gd name="T86" fmla="*/ 193863 w 5293529"/>
              <a:gd name="T87" fmla="*/ 166730 h 3773692"/>
              <a:gd name="T88" fmla="*/ 136099 w 5293529"/>
              <a:gd name="T89" fmla="*/ 132117 h 3773692"/>
              <a:gd name="T90" fmla="*/ 138505 w 5293529"/>
              <a:gd name="T91" fmla="*/ 190184 h 3773692"/>
              <a:gd name="T92" fmla="*/ 116012 w 5293529"/>
              <a:gd name="T93" fmla="*/ 75972 h 3773692"/>
              <a:gd name="T94" fmla="*/ 265051 w 5293529"/>
              <a:gd name="T95" fmla="*/ 171857 h 3773692"/>
              <a:gd name="T96" fmla="*/ 342215 w 5293529"/>
              <a:gd name="T97" fmla="*/ 389585 h 3773692"/>
              <a:gd name="T98" fmla="*/ 280429 w 5293529"/>
              <a:gd name="T99" fmla="*/ 392402 h 3773692"/>
              <a:gd name="T100" fmla="*/ 225661 w 5293529"/>
              <a:gd name="T101" fmla="*/ 297779 h 3773692"/>
              <a:gd name="T102" fmla="*/ 165889 w 5293529"/>
              <a:gd name="T103" fmla="*/ 390470 h 3773692"/>
              <a:gd name="T104" fmla="*/ 139176 w 5293529"/>
              <a:gd name="T105" fmla="*/ 207658 h 3773692"/>
              <a:gd name="T106" fmla="*/ 116594 w 5293529"/>
              <a:gd name="T107" fmla="*/ 145587 h 3773692"/>
              <a:gd name="T108" fmla="*/ 137526 w 5293529"/>
              <a:gd name="T109" fmla="*/ 47392 h 3773692"/>
              <a:gd name="T110" fmla="*/ 162703 w 5293529"/>
              <a:gd name="T111" fmla="*/ 105815 h 37736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lnTo>
                  <a:pt x="5063680" y="2863988"/>
                </a:ln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rgbClr val="001965"/>
          </a:solidFill>
          <a:ln>
            <a:noFill/>
          </a:ln>
          <a:extLst>
            <a:ext uri="{91240B29-F687-4F45-9708-019B960494DF}">
              <a14:hiddenLine xmlns:a14="http://schemas.microsoft.com/office/drawing/2010/main" w="8132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 sz="180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35071"/>
            <a:ext cx="11347200" cy="4098423"/>
          </a:xfrm>
        </p:spPr>
        <p:txBody>
          <a:bodyPr/>
          <a:lstStyle>
            <a:lvl1pPr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spcBef>
                <a:spcPts val="450"/>
              </a:spcBef>
              <a:spcAft>
                <a:spcPts val="450"/>
              </a:spcAft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spcBef>
                <a:spcPts val="450"/>
              </a:spcBef>
              <a:spcAft>
                <a:spcPts val="450"/>
              </a:spcAft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spcBef>
                <a:spcPts val="450"/>
              </a:spcBef>
              <a:spcAft>
                <a:spcPts val="450"/>
              </a:spcAft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spcBef>
                <a:spcPts val="450"/>
              </a:spcBef>
              <a:spcAft>
                <a:spcPts val="450"/>
              </a:spcAft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2401" y="5717421"/>
            <a:ext cx="11346267" cy="1027768"/>
          </a:xfrm>
        </p:spPr>
        <p:txBody>
          <a:bodyPr anchor="b"/>
          <a:lstStyle>
            <a:lvl1pPr marL="0" marR="0" indent="0" algn="l" defTabSz="91413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Verdana" pitchFamily="34" charset="0"/>
              <a:buNone/>
              <a:tabLst/>
              <a:defRPr sz="800" baseline="0">
                <a:solidFill>
                  <a:srgbClr val="82786F"/>
                </a:solidFill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22291" y="1141429"/>
            <a:ext cx="11345863" cy="296863"/>
          </a:xfrm>
        </p:spPr>
        <p:txBody>
          <a:bodyPr/>
          <a:lstStyle>
            <a:lvl1pPr marL="0" indent="0">
              <a:buNone/>
              <a:defRPr sz="1400" b="1">
                <a:solidFill>
                  <a:srgbClr val="009FDA"/>
                </a:solidFill>
              </a:defRPr>
            </a:lvl1pPr>
            <a:lvl2pPr marL="265037" indent="0">
              <a:buNone/>
              <a:defRPr sz="1100" b="1">
                <a:solidFill>
                  <a:srgbClr val="009FDA"/>
                </a:solidFill>
              </a:defRPr>
            </a:lvl2pPr>
            <a:lvl3pPr marL="536413" indent="0">
              <a:buNone/>
              <a:defRPr sz="1100" b="1">
                <a:solidFill>
                  <a:srgbClr val="009FDA"/>
                </a:solidFill>
              </a:defRPr>
            </a:lvl3pPr>
            <a:lvl4pPr marL="807798" indent="0">
              <a:buNone/>
              <a:defRPr sz="1100" b="1">
                <a:solidFill>
                  <a:srgbClr val="009FDA"/>
                </a:solidFill>
              </a:defRPr>
            </a:lvl4pPr>
            <a:lvl5pPr marL="1072826" indent="0">
              <a:buNone/>
              <a:defRPr sz="1100" b="1">
                <a:solidFill>
                  <a:srgbClr val="009FDA"/>
                </a:solidFill>
              </a:defRPr>
            </a:lvl5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404521450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253997-BE13-16D5-B8ED-0F2851DFA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E6B127F-1B5B-9CCA-D005-090E5E7D63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7B767C4-7202-6FB2-8D79-75297E357B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AA9F2B0-1122-7D61-D187-6393D4A347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72B0E-C09B-4693-A89E-D34A74ECA21B}" type="datetimeFigureOut">
              <a:rPr lang="da-DK" smtClean="0"/>
              <a:t>07-06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D44DA39E-6DDA-F292-CDFE-FDB48CA6A0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969D4EAA-D5DD-46C0-1AD6-C26CA8031C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46BE7-77C3-4533-BF30-57BD74EFE84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2330215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9"/>
            <a:ext cx="11347200" cy="521883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3335" y="5877639"/>
            <a:ext cx="10303807" cy="582431"/>
          </a:xfrm>
        </p:spPr>
        <p:txBody>
          <a:bodyPr anchor="b">
            <a:noAutofit/>
          </a:bodyPr>
          <a:lstStyle>
            <a:lvl1pPr marL="0" indent="0">
              <a:buNone/>
              <a:defRPr sz="800">
                <a:solidFill>
                  <a:srgbClr val="AEA79F"/>
                </a:solidFill>
              </a:defRPr>
            </a:lvl1pPr>
            <a:lvl2pPr>
              <a:defRPr sz="800">
                <a:solidFill>
                  <a:srgbClr val="82786F"/>
                </a:solidFill>
              </a:defRPr>
            </a:lvl2pPr>
            <a:lvl3pPr>
              <a:defRPr sz="800">
                <a:solidFill>
                  <a:srgbClr val="82786F"/>
                </a:solidFill>
              </a:defRPr>
            </a:lvl3pPr>
            <a:lvl4pPr>
              <a:defRPr sz="800">
                <a:solidFill>
                  <a:srgbClr val="82786F"/>
                </a:solidFill>
              </a:defRPr>
            </a:lvl4pPr>
            <a:lvl5pPr>
              <a:defRPr sz="800">
                <a:solidFill>
                  <a:srgbClr val="82786F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9686811-E2AC-42CF-9F9A-0B991E876BCE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7901518" y="125414"/>
            <a:ext cx="3867149" cy="134937"/>
          </a:xfrm>
        </p:spPr>
        <p:txBody>
          <a:bodyPr wrap="square" tIns="0" bIns="0" numCol="1" anchor="ctr" anchorCtr="0" compatLnSpc="1">
            <a:prstTxWarp prst="textNoShape">
              <a:avLst/>
            </a:prstTxWarp>
          </a:bodyPr>
          <a:lstStyle>
            <a:lvl1pPr algn="r" defTabSz="878899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1136335145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79985C9D-4AFC-4D92-A3F3-25EBF2C92356}"/>
              </a:ext>
            </a:extLst>
          </p:cNvPr>
          <p:cNvCxnSpPr/>
          <p:nvPr userDrawn="1"/>
        </p:nvCxnSpPr>
        <p:spPr>
          <a:xfrm>
            <a:off x="0" y="5973763"/>
            <a:ext cx="12192000" cy="0"/>
          </a:xfrm>
          <a:prstGeom prst="line">
            <a:avLst/>
          </a:prstGeom>
          <a:ln w="317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Rectangle 14">
            <a:extLst>
              <a:ext uri="{FF2B5EF4-FFF2-40B4-BE49-F238E27FC236}">
                <a16:creationId xmlns:a16="http://schemas.microsoft.com/office/drawing/2014/main" id="{ACDF2CC9-D2BD-4F3D-BB5A-8A4016E5112E}"/>
              </a:ext>
            </a:extLst>
          </p:cNvPr>
          <p:cNvSpPr/>
          <p:nvPr userDrawn="1"/>
        </p:nvSpPr>
        <p:spPr>
          <a:xfrm>
            <a:off x="0" y="1150939"/>
            <a:ext cx="239184" cy="48228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6482C3"/>
              </a:solidFill>
            </a:endParaRPr>
          </a:p>
        </p:txBody>
      </p:sp>
      <p:sp>
        <p:nvSpPr>
          <p:cNvPr id="7" name="Rectangle 15">
            <a:extLst>
              <a:ext uri="{FF2B5EF4-FFF2-40B4-BE49-F238E27FC236}">
                <a16:creationId xmlns:a16="http://schemas.microsoft.com/office/drawing/2014/main" id="{4F2FAEB3-76BC-423F-826F-ABAAE4E20DC6}"/>
              </a:ext>
            </a:extLst>
          </p:cNvPr>
          <p:cNvSpPr/>
          <p:nvPr userDrawn="1"/>
        </p:nvSpPr>
        <p:spPr>
          <a:xfrm>
            <a:off x="6119285" y="1150939"/>
            <a:ext cx="6072716" cy="4822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F0414B"/>
              </a:solidFill>
            </a:endParaRPr>
          </a:p>
        </p:txBody>
      </p:sp>
      <p:cxnSp>
        <p:nvCxnSpPr>
          <p:cNvPr id="8" name="Straight Connector 16">
            <a:extLst>
              <a:ext uri="{FF2B5EF4-FFF2-40B4-BE49-F238E27FC236}">
                <a16:creationId xmlns:a16="http://schemas.microsoft.com/office/drawing/2014/main" id="{C6442758-39C1-456D-9C4A-971EBDA97272}"/>
              </a:ext>
            </a:extLst>
          </p:cNvPr>
          <p:cNvCxnSpPr/>
          <p:nvPr userDrawn="1"/>
        </p:nvCxnSpPr>
        <p:spPr>
          <a:xfrm>
            <a:off x="0" y="1147763"/>
            <a:ext cx="12192000" cy="0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11">
            <a:extLst>
              <a:ext uri="{FF2B5EF4-FFF2-40B4-BE49-F238E27FC236}">
                <a16:creationId xmlns:a16="http://schemas.microsoft.com/office/drawing/2014/main" id="{3C31A77E-3C57-4FF7-844A-45FE199C70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8767" y="6270626"/>
            <a:ext cx="590551" cy="32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3">
            <a:extLst>
              <a:ext uri="{FF2B5EF4-FFF2-40B4-BE49-F238E27FC236}">
                <a16:creationId xmlns:a16="http://schemas.microsoft.com/office/drawing/2014/main" id="{0A4BB8C1-E5AE-4DE2-B30D-C177B37E9BD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867" y="6275389"/>
            <a:ext cx="1035051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572823" y="3412800"/>
            <a:ext cx="5043125" cy="10368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572823" y="2164800"/>
            <a:ext cx="5043125" cy="1166400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192011" y="5445225"/>
            <a:ext cx="5664629" cy="383116"/>
          </a:xfrm>
        </p:spPr>
        <p:txBody>
          <a:bodyPr anchor="b"/>
          <a:lstStyle>
            <a:lvl1pPr marL="0" indent="0" algn="r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729126640"/>
      </p:ext>
    </p:extLst>
  </p:cSld>
  <p:clrMapOvr>
    <a:masterClrMapping/>
  </p:clrMapOvr>
  <p:hf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4">
            <a:extLst>
              <a:ext uri="{FF2B5EF4-FFF2-40B4-BE49-F238E27FC236}">
                <a16:creationId xmlns:a16="http://schemas.microsoft.com/office/drawing/2014/main" id="{DED7F737-AA5C-4034-9521-3257AACEBD77}"/>
              </a:ext>
            </a:extLst>
          </p:cNvPr>
          <p:cNvSpPr/>
          <p:nvPr userDrawn="1"/>
        </p:nvSpPr>
        <p:spPr>
          <a:xfrm>
            <a:off x="0" y="1150939"/>
            <a:ext cx="239184" cy="48228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6482C3"/>
              </a:solidFill>
            </a:endParaRPr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BFE5C936-CEF5-4CC4-AE98-CE0F4F2170CA}"/>
              </a:ext>
            </a:extLst>
          </p:cNvPr>
          <p:cNvSpPr/>
          <p:nvPr userDrawn="1"/>
        </p:nvSpPr>
        <p:spPr>
          <a:xfrm>
            <a:off x="11952818" y="1147764"/>
            <a:ext cx="239183" cy="48228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F0414B"/>
              </a:solidFill>
            </a:endParaRPr>
          </a:p>
        </p:txBody>
      </p:sp>
      <p:cxnSp>
        <p:nvCxnSpPr>
          <p:cNvPr id="7" name="Straight Connector 16">
            <a:extLst>
              <a:ext uri="{FF2B5EF4-FFF2-40B4-BE49-F238E27FC236}">
                <a16:creationId xmlns:a16="http://schemas.microsoft.com/office/drawing/2014/main" id="{A98DDB19-9A9E-4713-94D7-952D972A2B72}"/>
              </a:ext>
            </a:extLst>
          </p:cNvPr>
          <p:cNvCxnSpPr/>
          <p:nvPr userDrawn="1"/>
        </p:nvCxnSpPr>
        <p:spPr>
          <a:xfrm>
            <a:off x="0" y="1147763"/>
            <a:ext cx="12192000" cy="0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F27806A-4D54-440B-AE57-BE58E973F36E}"/>
              </a:ext>
            </a:extLst>
          </p:cNvPr>
          <p:cNvCxnSpPr/>
          <p:nvPr userDrawn="1"/>
        </p:nvCxnSpPr>
        <p:spPr>
          <a:xfrm>
            <a:off x="0" y="5973763"/>
            <a:ext cx="12192000" cy="0"/>
          </a:xfrm>
          <a:prstGeom prst="line">
            <a:avLst/>
          </a:prstGeom>
          <a:ln w="3175" cmpd="sng">
            <a:solidFill>
              <a:srgbClr val="33333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572822" y="3412800"/>
            <a:ext cx="7735823" cy="10368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572822" y="2164800"/>
            <a:ext cx="7735823" cy="1166400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572825" y="4533123"/>
            <a:ext cx="7751233" cy="383116"/>
          </a:xfrm>
        </p:spPr>
        <p:txBody>
          <a:bodyPr anchor="b"/>
          <a:lstStyle>
            <a:lvl1pPr marL="0" indent="0">
              <a:buNone/>
              <a:defRPr sz="14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225336203"/>
      </p:ext>
    </p:extLst>
  </p:cSld>
  <p:clrMapOvr>
    <a:masterClrMapping/>
  </p:clrMapOvr>
  <p:hf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>
            <a:extLst>
              <a:ext uri="{FF2B5EF4-FFF2-40B4-BE49-F238E27FC236}">
                <a16:creationId xmlns:a16="http://schemas.microsoft.com/office/drawing/2014/main" id="{0A97E536-04B4-4577-89B3-970882C7D041}"/>
              </a:ext>
            </a:extLst>
          </p:cNvPr>
          <p:cNvSpPr/>
          <p:nvPr userDrawn="1"/>
        </p:nvSpPr>
        <p:spPr>
          <a:xfrm>
            <a:off x="0" y="1150938"/>
            <a:ext cx="239184" cy="57070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6482C3"/>
              </a:solidFill>
            </a:endParaRPr>
          </a:p>
        </p:txBody>
      </p:sp>
      <p:sp>
        <p:nvSpPr>
          <p:cNvPr id="8" name="Rectangle 10">
            <a:extLst>
              <a:ext uri="{FF2B5EF4-FFF2-40B4-BE49-F238E27FC236}">
                <a16:creationId xmlns:a16="http://schemas.microsoft.com/office/drawing/2014/main" id="{DC2B371D-EEF4-4E41-8DAD-1FB62809DB94}"/>
              </a:ext>
            </a:extLst>
          </p:cNvPr>
          <p:cNvSpPr/>
          <p:nvPr userDrawn="1"/>
        </p:nvSpPr>
        <p:spPr>
          <a:xfrm>
            <a:off x="11952818" y="1147764"/>
            <a:ext cx="239183" cy="571023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F0414B"/>
              </a:solidFill>
            </a:endParaRPr>
          </a:p>
        </p:txBody>
      </p:sp>
      <p:cxnSp>
        <p:nvCxnSpPr>
          <p:cNvPr id="9" name="Straight Connector 17">
            <a:extLst>
              <a:ext uri="{FF2B5EF4-FFF2-40B4-BE49-F238E27FC236}">
                <a16:creationId xmlns:a16="http://schemas.microsoft.com/office/drawing/2014/main" id="{0694C19A-8281-4D0E-B4D8-B0AC5248C694}"/>
              </a:ext>
            </a:extLst>
          </p:cNvPr>
          <p:cNvCxnSpPr/>
          <p:nvPr userDrawn="1"/>
        </p:nvCxnSpPr>
        <p:spPr>
          <a:xfrm>
            <a:off x="0" y="1147763"/>
            <a:ext cx="12192000" cy="0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99" y="1961605"/>
            <a:ext cx="10972800" cy="4203700"/>
          </a:xfrm>
        </p:spPr>
        <p:txBody>
          <a:bodyPr/>
          <a:lstStyle>
            <a:lvl1pPr marL="177800" indent="-177800">
              <a:defRPr>
                <a:solidFill>
                  <a:srgbClr val="5A5A5A"/>
                </a:solidFill>
              </a:defRPr>
            </a:lvl1pPr>
            <a:lvl2pPr marL="450850" indent="-273050">
              <a:defRPr sz="1800">
                <a:solidFill>
                  <a:srgbClr val="5A5A5A"/>
                </a:solidFill>
              </a:defRPr>
            </a:lvl2pPr>
            <a:lvl3pPr marL="628650" indent="-177800">
              <a:defRPr>
                <a:solidFill>
                  <a:srgbClr val="5A5A5A"/>
                </a:solidFill>
              </a:defRPr>
            </a:lvl3pPr>
            <a:lvl4pPr marL="895350" indent="-266700">
              <a:defRPr>
                <a:solidFill>
                  <a:srgbClr val="5A5A5A"/>
                </a:solidFill>
              </a:defRPr>
            </a:lvl4pPr>
            <a:lvl5pPr marL="1079500" indent="-184150">
              <a:defRPr>
                <a:solidFill>
                  <a:srgbClr val="5A5A5A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2883" y="1331384"/>
            <a:ext cx="11006400" cy="60480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163200"/>
            <a:ext cx="11247967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Footer Placeholder 5">
            <a:extLst>
              <a:ext uri="{FF2B5EF4-FFF2-40B4-BE49-F238E27FC236}">
                <a16:creationId xmlns:a16="http://schemas.microsoft.com/office/drawing/2014/main" id="{00EDEC87-2C6C-4E55-BA9F-645B388E75E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Slide Number Placeholder 7">
            <a:extLst>
              <a:ext uri="{FF2B5EF4-FFF2-40B4-BE49-F238E27FC236}">
                <a16:creationId xmlns:a16="http://schemas.microsoft.com/office/drawing/2014/main" id="{EA88B17F-EDE5-4260-A47F-3A833867DDA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6F9D16-8FC2-4B29-AE05-E884FC973E18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86041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8">
            <a:extLst>
              <a:ext uri="{FF2B5EF4-FFF2-40B4-BE49-F238E27FC236}">
                <a16:creationId xmlns:a16="http://schemas.microsoft.com/office/drawing/2014/main" id="{2026A265-B143-4453-B382-5EF429A81D7D}"/>
              </a:ext>
            </a:extLst>
          </p:cNvPr>
          <p:cNvSpPr/>
          <p:nvPr userDrawn="1"/>
        </p:nvSpPr>
        <p:spPr>
          <a:xfrm>
            <a:off x="0" y="1150938"/>
            <a:ext cx="239184" cy="57070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6482C3"/>
              </a:solidFill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E8C1E18B-8F8A-440D-B3BE-333113E5A264}"/>
              </a:ext>
            </a:extLst>
          </p:cNvPr>
          <p:cNvSpPr/>
          <p:nvPr userDrawn="1"/>
        </p:nvSpPr>
        <p:spPr>
          <a:xfrm>
            <a:off x="11952818" y="1147764"/>
            <a:ext cx="239183" cy="571023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F0414B"/>
              </a:solidFill>
            </a:endParaRPr>
          </a:p>
        </p:txBody>
      </p:sp>
      <p:cxnSp>
        <p:nvCxnSpPr>
          <p:cNvPr id="7" name="Straight Connector 10">
            <a:extLst>
              <a:ext uri="{FF2B5EF4-FFF2-40B4-BE49-F238E27FC236}">
                <a16:creationId xmlns:a16="http://schemas.microsoft.com/office/drawing/2014/main" id="{30DA52FB-EA04-4E5A-BA94-247E99196287}"/>
              </a:ext>
            </a:extLst>
          </p:cNvPr>
          <p:cNvCxnSpPr/>
          <p:nvPr userDrawn="1"/>
        </p:nvCxnSpPr>
        <p:spPr>
          <a:xfrm>
            <a:off x="0" y="1147763"/>
            <a:ext cx="12192000" cy="0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18"/>
          <p:cNvSpPr>
            <a:spLocks noGrp="1"/>
          </p:cNvSpPr>
          <p:nvPr>
            <p:ph sz="quarter" idx="11"/>
          </p:nvPr>
        </p:nvSpPr>
        <p:spPr>
          <a:xfrm>
            <a:off x="609600" y="1372800"/>
            <a:ext cx="10972800" cy="417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163200"/>
            <a:ext cx="11247967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Footer Placeholder 5">
            <a:extLst>
              <a:ext uri="{FF2B5EF4-FFF2-40B4-BE49-F238E27FC236}">
                <a16:creationId xmlns:a16="http://schemas.microsoft.com/office/drawing/2014/main" id="{2AFFCACF-1B7B-433B-9D68-7266966C130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19">
            <a:extLst>
              <a:ext uri="{FF2B5EF4-FFF2-40B4-BE49-F238E27FC236}">
                <a16:creationId xmlns:a16="http://schemas.microsoft.com/office/drawing/2014/main" id="{36EBFDD7-8994-4E3B-A396-197B8BD5C28C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0166F6-A0C5-4AA3-A5D8-EAE74A9DE24F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1160328"/>
      </p:ext>
    </p:extLst>
  </p:cSld>
  <p:clrMapOvr>
    <a:masterClrMapping/>
  </p:clrMapOvr>
  <p:hf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>
            <a:extLst>
              <a:ext uri="{FF2B5EF4-FFF2-40B4-BE49-F238E27FC236}">
                <a16:creationId xmlns:a16="http://schemas.microsoft.com/office/drawing/2014/main" id="{CD76CF20-C1A9-471B-A7B8-DFACB9336CE9}"/>
              </a:ext>
            </a:extLst>
          </p:cNvPr>
          <p:cNvSpPr/>
          <p:nvPr userDrawn="1"/>
        </p:nvSpPr>
        <p:spPr>
          <a:xfrm>
            <a:off x="0" y="1150938"/>
            <a:ext cx="239184" cy="57070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6482C3"/>
              </a:solidFill>
            </a:endParaRPr>
          </a:p>
        </p:txBody>
      </p:sp>
      <p:sp>
        <p:nvSpPr>
          <p:cNvPr id="6" name="Rectangle 9">
            <a:extLst>
              <a:ext uri="{FF2B5EF4-FFF2-40B4-BE49-F238E27FC236}">
                <a16:creationId xmlns:a16="http://schemas.microsoft.com/office/drawing/2014/main" id="{C3551CE1-BCB8-427A-9841-18AE2A643F82}"/>
              </a:ext>
            </a:extLst>
          </p:cNvPr>
          <p:cNvSpPr/>
          <p:nvPr userDrawn="1"/>
        </p:nvSpPr>
        <p:spPr>
          <a:xfrm>
            <a:off x="11952818" y="1147764"/>
            <a:ext cx="239183" cy="571023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F0414B"/>
              </a:solidFill>
            </a:endParaRPr>
          </a:p>
        </p:txBody>
      </p:sp>
      <p:cxnSp>
        <p:nvCxnSpPr>
          <p:cNvPr id="8" name="Straight Connector 10">
            <a:extLst>
              <a:ext uri="{FF2B5EF4-FFF2-40B4-BE49-F238E27FC236}">
                <a16:creationId xmlns:a16="http://schemas.microsoft.com/office/drawing/2014/main" id="{63D88A7C-F816-4F66-AE57-692C14EC6643}"/>
              </a:ext>
            </a:extLst>
          </p:cNvPr>
          <p:cNvCxnSpPr/>
          <p:nvPr userDrawn="1"/>
        </p:nvCxnSpPr>
        <p:spPr>
          <a:xfrm>
            <a:off x="0" y="1147763"/>
            <a:ext cx="12192000" cy="0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2883" y="1331384"/>
            <a:ext cx="11006400" cy="60480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163200"/>
            <a:ext cx="11247967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F1B3014A-6975-4C74-8AB0-F14DEADC4F7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Slide Number Placeholder 7">
            <a:extLst>
              <a:ext uri="{FF2B5EF4-FFF2-40B4-BE49-F238E27FC236}">
                <a16:creationId xmlns:a16="http://schemas.microsoft.com/office/drawing/2014/main" id="{4EFAAA89-5E96-4C77-8950-D41F643AFF9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80DA7C-FCFF-44DA-B142-0239507C5318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217501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9">
            <a:extLst>
              <a:ext uri="{FF2B5EF4-FFF2-40B4-BE49-F238E27FC236}">
                <a16:creationId xmlns:a16="http://schemas.microsoft.com/office/drawing/2014/main" id="{F1E1FF95-9D2E-425B-8F7B-9827A97D0553}"/>
              </a:ext>
            </a:extLst>
          </p:cNvPr>
          <p:cNvCxnSpPr/>
          <p:nvPr userDrawn="1"/>
        </p:nvCxnSpPr>
        <p:spPr>
          <a:xfrm>
            <a:off x="0" y="1147763"/>
            <a:ext cx="12192000" cy="0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985758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8">
            <a:extLst>
              <a:ext uri="{FF2B5EF4-FFF2-40B4-BE49-F238E27FC236}">
                <a16:creationId xmlns:a16="http://schemas.microsoft.com/office/drawing/2014/main" id="{2D097413-85A6-46B7-9856-312E0FFC7833}"/>
              </a:ext>
            </a:extLst>
          </p:cNvPr>
          <p:cNvSpPr/>
          <p:nvPr userDrawn="1"/>
        </p:nvSpPr>
        <p:spPr>
          <a:xfrm>
            <a:off x="0" y="1150938"/>
            <a:ext cx="239184" cy="57070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6482C3"/>
              </a:solidFill>
            </a:endParaRPr>
          </a:p>
        </p:txBody>
      </p:sp>
      <p:sp>
        <p:nvSpPr>
          <p:cNvPr id="4" name="Rectangle 9">
            <a:extLst>
              <a:ext uri="{FF2B5EF4-FFF2-40B4-BE49-F238E27FC236}">
                <a16:creationId xmlns:a16="http://schemas.microsoft.com/office/drawing/2014/main" id="{33EE95C2-0AFD-4BFC-8322-5D591202B91F}"/>
              </a:ext>
            </a:extLst>
          </p:cNvPr>
          <p:cNvSpPr/>
          <p:nvPr userDrawn="1"/>
        </p:nvSpPr>
        <p:spPr>
          <a:xfrm>
            <a:off x="11952818" y="1147764"/>
            <a:ext cx="239183" cy="571023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F0414B"/>
              </a:solidFill>
            </a:endParaRPr>
          </a:p>
        </p:txBody>
      </p:sp>
      <p:cxnSp>
        <p:nvCxnSpPr>
          <p:cNvPr id="5" name="Straight Connector 10">
            <a:extLst>
              <a:ext uri="{FF2B5EF4-FFF2-40B4-BE49-F238E27FC236}">
                <a16:creationId xmlns:a16="http://schemas.microsoft.com/office/drawing/2014/main" id="{0831A130-CBB2-4939-A9C3-8910CB76F8D7}"/>
              </a:ext>
            </a:extLst>
          </p:cNvPr>
          <p:cNvCxnSpPr/>
          <p:nvPr userDrawn="1"/>
        </p:nvCxnSpPr>
        <p:spPr>
          <a:xfrm>
            <a:off x="0" y="1147763"/>
            <a:ext cx="12192000" cy="0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63200"/>
            <a:ext cx="11247967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61AF2AE8-6014-40D6-B4E2-63508514A9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66C89F68-3431-4BE8-AFE4-FD96B0D840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9B6C4B-5D82-4181-8C63-49F4D5725730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43063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9">
            <a:extLst>
              <a:ext uri="{FF2B5EF4-FFF2-40B4-BE49-F238E27FC236}">
                <a16:creationId xmlns:a16="http://schemas.microsoft.com/office/drawing/2014/main" id="{D2A8F9B3-E0F2-44E9-9F5A-7F7692614AAA}"/>
              </a:ext>
            </a:extLst>
          </p:cNvPr>
          <p:cNvSpPr/>
          <p:nvPr userDrawn="1"/>
        </p:nvSpPr>
        <p:spPr>
          <a:xfrm>
            <a:off x="0" y="1150938"/>
            <a:ext cx="239184" cy="57070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6482C3"/>
              </a:solidFill>
            </a:endParaRPr>
          </a:p>
        </p:txBody>
      </p:sp>
      <p:sp>
        <p:nvSpPr>
          <p:cNvPr id="6" name="Rectangle 10">
            <a:extLst>
              <a:ext uri="{FF2B5EF4-FFF2-40B4-BE49-F238E27FC236}">
                <a16:creationId xmlns:a16="http://schemas.microsoft.com/office/drawing/2014/main" id="{159C886C-95A7-4297-9D24-0E0DFCE67BC2}"/>
              </a:ext>
            </a:extLst>
          </p:cNvPr>
          <p:cNvSpPr/>
          <p:nvPr userDrawn="1"/>
        </p:nvSpPr>
        <p:spPr>
          <a:xfrm>
            <a:off x="11952818" y="1147764"/>
            <a:ext cx="239183" cy="571023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F0414B"/>
              </a:solidFill>
            </a:endParaRPr>
          </a:p>
        </p:txBody>
      </p:sp>
      <p:cxnSp>
        <p:nvCxnSpPr>
          <p:cNvPr id="8" name="Straight Connector 11">
            <a:extLst>
              <a:ext uri="{FF2B5EF4-FFF2-40B4-BE49-F238E27FC236}">
                <a16:creationId xmlns:a16="http://schemas.microsoft.com/office/drawing/2014/main" id="{58A44D86-9989-4733-AF92-E46340D9AD2B}"/>
              </a:ext>
            </a:extLst>
          </p:cNvPr>
          <p:cNvCxnSpPr/>
          <p:nvPr userDrawn="1"/>
        </p:nvCxnSpPr>
        <p:spPr>
          <a:xfrm>
            <a:off x="0" y="1147763"/>
            <a:ext cx="12192000" cy="0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80070"/>
            <a:ext cx="5303520" cy="4195233"/>
          </a:xfrm>
        </p:spPr>
        <p:txBody>
          <a:bodyPr/>
          <a:lstStyle>
            <a:lvl1pPr marL="177800" indent="-177800">
              <a:defRPr sz="1800">
                <a:solidFill>
                  <a:srgbClr val="5A5A5A"/>
                </a:solidFill>
              </a:defRPr>
            </a:lvl1pPr>
            <a:lvl2pPr>
              <a:defRPr sz="1800">
                <a:solidFill>
                  <a:srgbClr val="5A5A5A"/>
                </a:solidFill>
              </a:defRPr>
            </a:lvl2pPr>
            <a:lvl3pPr marL="628650" indent="-177800">
              <a:defRPr sz="1600">
                <a:solidFill>
                  <a:srgbClr val="5A5A5A"/>
                </a:solidFill>
              </a:defRPr>
            </a:lvl3pPr>
            <a:lvl4pPr marL="806450" indent="-177800">
              <a:tabLst/>
              <a:defRPr sz="1600">
                <a:solidFill>
                  <a:srgbClr val="5A5A5A"/>
                </a:solidFill>
              </a:defRPr>
            </a:lvl4pPr>
            <a:lvl5pPr marL="984250" indent="-177800">
              <a:defRPr sz="1400">
                <a:solidFill>
                  <a:srgbClr val="5A5A5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8880" y="1380070"/>
            <a:ext cx="5303520" cy="4195233"/>
          </a:xfrm>
        </p:spPr>
        <p:txBody>
          <a:bodyPr/>
          <a:lstStyle>
            <a:lvl1pPr>
              <a:defRPr sz="1800">
                <a:solidFill>
                  <a:srgbClr val="5A5A5A"/>
                </a:solidFill>
              </a:defRPr>
            </a:lvl1pPr>
            <a:lvl2pPr>
              <a:defRPr sz="1800">
                <a:solidFill>
                  <a:srgbClr val="5A5A5A"/>
                </a:solidFill>
              </a:defRPr>
            </a:lvl2pPr>
            <a:lvl3pPr marL="627063" indent="-176213">
              <a:defRPr sz="1600">
                <a:solidFill>
                  <a:srgbClr val="5A5A5A"/>
                </a:solidFill>
              </a:defRPr>
            </a:lvl3pPr>
            <a:lvl4pPr marL="806450" indent="-177800">
              <a:defRPr sz="1600">
                <a:solidFill>
                  <a:srgbClr val="5A5A5A"/>
                </a:solidFill>
              </a:defRPr>
            </a:lvl4pPr>
            <a:lvl5pPr marL="984250" indent="-177800">
              <a:defRPr sz="1400">
                <a:solidFill>
                  <a:srgbClr val="5A5A5A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600" y="163200"/>
            <a:ext cx="11247967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AB447034-4C49-4766-A28E-5BFC021309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621AF1E7-A82A-4FDF-BC4D-2B7E346605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F4DC8C-C4BE-4431-97C4-8A9EE5D22F4A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675474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22">
            <a:extLst>
              <a:ext uri="{FF2B5EF4-FFF2-40B4-BE49-F238E27FC236}">
                <a16:creationId xmlns:a16="http://schemas.microsoft.com/office/drawing/2014/main" id="{D917FB1E-E83E-4BEF-9634-4005A3550547}"/>
              </a:ext>
            </a:extLst>
          </p:cNvPr>
          <p:cNvCxnSpPr/>
          <p:nvPr userDrawn="1"/>
        </p:nvCxnSpPr>
        <p:spPr>
          <a:xfrm>
            <a:off x="0" y="1147763"/>
            <a:ext cx="12192000" cy="0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371601"/>
            <a:ext cx="5303520" cy="639763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11362"/>
            <a:ext cx="5303520" cy="3563939"/>
          </a:xfrm>
        </p:spPr>
        <p:txBody>
          <a:bodyPr/>
          <a:lstStyle>
            <a:lvl1pPr>
              <a:defRPr sz="1800">
                <a:solidFill>
                  <a:srgbClr val="5A5A5A"/>
                </a:solidFill>
              </a:defRPr>
            </a:lvl1pPr>
            <a:lvl2pPr>
              <a:defRPr sz="1800">
                <a:solidFill>
                  <a:srgbClr val="5A5A5A"/>
                </a:solidFill>
              </a:defRPr>
            </a:lvl2pPr>
            <a:lvl3pPr marL="628650" indent="-174625">
              <a:defRPr sz="1600">
                <a:solidFill>
                  <a:srgbClr val="5A5A5A"/>
                </a:solidFill>
              </a:defRPr>
            </a:lvl3pPr>
            <a:lvl4pPr marL="895350" indent="-266700">
              <a:defRPr sz="1600">
                <a:solidFill>
                  <a:srgbClr val="5A5A5A"/>
                </a:solidFill>
              </a:defRPr>
            </a:lvl4pPr>
            <a:lvl5pPr marL="1079500" indent="-184150">
              <a:tabLst>
                <a:tab pos="1079500" algn="l"/>
                <a:tab pos="1346200" algn="l"/>
              </a:tabLst>
              <a:defRPr sz="1400">
                <a:solidFill>
                  <a:srgbClr val="5A5A5A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78880" y="1371601"/>
            <a:ext cx="5303520" cy="639763"/>
          </a:xfrm>
        </p:spPr>
        <p:txBody>
          <a:bodyPr/>
          <a:lstStyle>
            <a:lvl1pPr marL="0" indent="0">
              <a:buNone/>
              <a:defRPr sz="16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78880" y="2011362"/>
            <a:ext cx="5303520" cy="3563939"/>
          </a:xfrm>
        </p:spPr>
        <p:txBody>
          <a:bodyPr/>
          <a:lstStyle>
            <a:lvl1pPr>
              <a:defRPr sz="1800">
                <a:solidFill>
                  <a:srgbClr val="5A5A5A"/>
                </a:solidFill>
              </a:defRPr>
            </a:lvl1pPr>
            <a:lvl2pPr>
              <a:defRPr sz="1800">
                <a:solidFill>
                  <a:srgbClr val="5A5A5A"/>
                </a:solidFill>
              </a:defRPr>
            </a:lvl2pPr>
            <a:lvl3pPr marL="627063" indent="-176213">
              <a:defRPr sz="1600">
                <a:solidFill>
                  <a:srgbClr val="5A5A5A"/>
                </a:solidFill>
              </a:defRPr>
            </a:lvl3pPr>
            <a:lvl4pPr marL="895350" indent="-266700">
              <a:defRPr sz="1600">
                <a:solidFill>
                  <a:srgbClr val="5A5A5A"/>
                </a:solidFill>
              </a:defRPr>
            </a:lvl4pPr>
            <a:lvl5pPr marL="1079500" indent="-184150">
              <a:defRPr sz="1400">
                <a:solidFill>
                  <a:srgbClr val="5A5A5A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09600" y="163200"/>
            <a:ext cx="11247967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65F806F-9496-41F9-8C8F-7832124319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54787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68A630D-417A-4DED-18CE-D96F68EC3F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4E9438A4-2518-8EBB-C654-FD0EB997E2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5A0B87D-0330-1FDF-E653-4A79AD87D6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39A8DE76-CDBA-07F6-0397-5433B2BBB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472B0E-C09B-4693-A89E-D34A74ECA21B}" type="datetimeFigureOut">
              <a:rPr lang="da-DK" smtClean="0"/>
              <a:t>07-06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53ED8679-4231-B9EA-D10E-A190A1ECF9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95B8417-53C6-CD06-DCC5-1B9E6E56EB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C46BE7-77C3-4533-BF30-57BD74EFE84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679576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>
            <a:extLst>
              <a:ext uri="{FF2B5EF4-FFF2-40B4-BE49-F238E27FC236}">
                <a16:creationId xmlns:a16="http://schemas.microsoft.com/office/drawing/2014/main" id="{C5B8A87D-8A52-4C13-80E8-D0575E11F1FA}"/>
              </a:ext>
            </a:extLst>
          </p:cNvPr>
          <p:cNvSpPr/>
          <p:nvPr userDrawn="1"/>
        </p:nvSpPr>
        <p:spPr>
          <a:xfrm>
            <a:off x="0" y="1150938"/>
            <a:ext cx="239184" cy="57070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6482C3"/>
              </a:solidFill>
            </a:endParaRPr>
          </a:p>
        </p:txBody>
      </p:sp>
      <p:sp>
        <p:nvSpPr>
          <p:cNvPr id="7" name="Rectangle 9">
            <a:extLst>
              <a:ext uri="{FF2B5EF4-FFF2-40B4-BE49-F238E27FC236}">
                <a16:creationId xmlns:a16="http://schemas.microsoft.com/office/drawing/2014/main" id="{D69973C8-F9A3-44DD-97FD-1D995730F821}"/>
              </a:ext>
            </a:extLst>
          </p:cNvPr>
          <p:cNvSpPr/>
          <p:nvPr userDrawn="1"/>
        </p:nvSpPr>
        <p:spPr>
          <a:xfrm>
            <a:off x="11952818" y="1147764"/>
            <a:ext cx="239183" cy="571023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F0414B"/>
              </a:solidFill>
            </a:endParaRPr>
          </a:p>
        </p:txBody>
      </p:sp>
      <p:cxnSp>
        <p:nvCxnSpPr>
          <p:cNvPr id="8" name="Straight Connector 11">
            <a:extLst>
              <a:ext uri="{FF2B5EF4-FFF2-40B4-BE49-F238E27FC236}">
                <a16:creationId xmlns:a16="http://schemas.microsoft.com/office/drawing/2014/main" id="{3B7BD664-D4A8-4ABA-8958-205280B3E143}"/>
              </a:ext>
            </a:extLst>
          </p:cNvPr>
          <p:cNvCxnSpPr/>
          <p:nvPr userDrawn="1"/>
        </p:nvCxnSpPr>
        <p:spPr>
          <a:xfrm>
            <a:off x="0" y="1147763"/>
            <a:ext cx="12192000" cy="0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able Placeholder 5"/>
          <p:cNvSpPr>
            <a:spLocks noGrp="1"/>
          </p:cNvSpPr>
          <p:nvPr>
            <p:ph type="tbl" sz="quarter" idx="11"/>
          </p:nvPr>
        </p:nvSpPr>
        <p:spPr>
          <a:xfrm>
            <a:off x="609600" y="1958400"/>
            <a:ext cx="10972800" cy="42048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table</a:t>
            </a:r>
            <a:endParaRPr lang="en-GB" noProof="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163200"/>
            <a:ext cx="11247967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F4CB5CE1-C2BB-4F35-8CE0-9184B000852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" name="Slide Number Placeholder 10">
            <a:extLst>
              <a:ext uri="{FF2B5EF4-FFF2-40B4-BE49-F238E27FC236}">
                <a16:creationId xmlns:a16="http://schemas.microsoft.com/office/drawing/2014/main" id="{3D70578F-0665-47D3-B2F9-FAA415ED8CD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2DECA1-5301-481D-9190-0D3E9C8F8F29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417276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>
            <a:extLst>
              <a:ext uri="{FF2B5EF4-FFF2-40B4-BE49-F238E27FC236}">
                <a16:creationId xmlns:a16="http://schemas.microsoft.com/office/drawing/2014/main" id="{BBFC82A9-FFBD-4BA9-BD83-93798B0601BB}"/>
              </a:ext>
            </a:extLst>
          </p:cNvPr>
          <p:cNvSpPr/>
          <p:nvPr userDrawn="1"/>
        </p:nvSpPr>
        <p:spPr>
          <a:xfrm>
            <a:off x="0" y="1150938"/>
            <a:ext cx="239184" cy="57070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6482C3"/>
              </a:solidFill>
            </a:endParaRPr>
          </a:p>
        </p:txBody>
      </p:sp>
      <p:sp>
        <p:nvSpPr>
          <p:cNvPr id="5" name="Rectangle 11">
            <a:extLst>
              <a:ext uri="{FF2B5EF4-FFF2-40B4-BE49-F238E27FC236}">
                <a16:creationId xmlns:a16="http://schemas.microsoft.com/office/drawing/2014/main" id="{894059CD-74CD-4751-BA42-F5DFAF61DCEF}"/>
              </a:ext>
            </a:extLst>
          </p:cNvPr>
          <p:cNvSpPr/>
          <p:nvPr userDrawn="1"/>
        </p:nvSpPr>
        <p:spPr>
          <a:xfrm>
            <a:off x="11952818" y="1147764"/>
            <a:ext cx="239183" cy="571023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F0414B"/>
              </a:solidFill>
            </a:endParaRPr>
          </a:p>
        </p:txBody>
      </p:sp>
      <p:cxnSp>
        <p:nvCxnSpPr>
          <p:cNvPr id="7" name="Straight Connector 12">
            <a:extLst>
              <a:ext uri="{FF2B5EF4-FFF2-40B4-BE49-F238E27FC236}">
                <a16:creationId xmlns:a16="http://schemas.microsoft.com/office/drawing/2014/main" id="{00992938-0E2C-43D4-AD0F-6D3A21595C95}"/>
              </a:ext>
            </a:extLst>
          </p:cNvPr>
          <p:cNvCxnSpPr/>
          <p:nvPr userDrawn="1"/>
        </p:nvCxnSpPr>
        <p:spPr>
          <a:xfrm>
            <a:off x="0" y="1147763"/>
            <a:ext cx="12192000" cy="0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63200"/>
            <a:ext cx="11247967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09600" y="1958400"/>
            <a:ext cx="10972800" cy="42048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5C39204F-5BE6-47C5-B041-DE3A88F224D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7D3D18A-FF87-4A4C-B5C7-ADEF92AC310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AAB465-36F6-4C81-9C73-AB668486848A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97056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 (no waterm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1">
            <a:extLst>
              <a:ext uri="{FF2B5EF4-FFF2-40B4-BE49-F238E27FC236}">
                <a16:creationId xmlns:a16="http://schemas.microsoft.com/office/drawing/2014/main" id="{B23310D4-2F71-4672-A634-642C7E0FCFE3}"/>
              </a:ext>
            </a:extLst>
          </p:cNvPr>
          <p:cNvSpPr/>
          <p:nvPr userDrawn="1"/>
        </p:nvSpPr>
        <p:spPr>
          <a:xfrm>
            <a:off x="0" y="1150938"/>
            <a:ext cx="239184" cy="57070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6482C3"/>
              </a:solidFill>
            </a:endParaRPr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2A400BEE-9DC4-4F0B-AC21-A6E507EAC6D7}"/>
              </a:ext>
            </a:extLst>
          </p:cNvPr>
          <p:cNvSpPr/>
          <p:nvPr userDrawn="1"/>
        </p:nvSpPr>
        <p:spPr>
          <a:xfrm>
            <a:off x="11952818" y="1147764"/>
            <a:ext cx="239183" cy="571023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F0414B"/>
              </a:solidFill>
            </a:endParaRPr>
          </a:p>
        </p:txBody>
      </p:sp>
      <p:cxnSp>
        <p:nvCxnSpPr>
          <p:cNvPr id="8" name="Straight Connector 16">
            <a:extLst>
              <a:ext uri="{FF2B5EF4-FFF2-40B4-BE49-F238E27FC236}">
                <a16:creationId xmlns:a16="http://schemas.microsoft.com/office/drawing/2014/main" id="{FBA705FD-D048-46D6-A412-A8BAB1E2EF74}"/>
              </a:ext>
            </a:extLst>
          </p:cNvPr>
          <p:cNvCxnSpPr/>
          <p:nvPr userDrawn="1"/>
        </p:nvCxnSpPr>
        <p:spPr>
          <a:xfrm>
            <a:off x="0" y="1147763"/>
            <a:ext cx="12192000" cy="0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Chart Placeholder 3"/>
          <p:cNvSpPr>
            <a:spLocks noGrp="1"/>
          </p:cNvSpPr>
          <p:nvPr>
            <p:ph type="chart" sz="quarter" idx="11"/>
          </p:nvPr>
        </p:nvSpPr>
        <p:spPr>
          <a:xfrm>
            <a:off x="609600" y="1960504"/>
            <a:ext cx="10972800" cy="42048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chart</a:t>
            </a:r>
            <a:endParaRPr lang="en-GB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09600" y="163200"/>
            <a:ext cx="11247967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32883" y="1331384"/>
            <a:ext cx="11006400" cy="60480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87BB474-4237-4063-8F16-2A256407A10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7B7B647-095C-4337-A152-521734FE5F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DE05B1-8AE7-422A-8285-C4688844B0CB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65410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to be avoid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>
            <a:extLst>
              <a:ext uri="{FF2B5EF4-FFF2-40B4-BE49-F238E27FC236}">
                <a16:creationId xmlns:a16="http://schemas.microsoft.com/office/drawing/2014/main" id="{928E64A0-DE1E-4E13-A71C-53C7B1AEBD81}"/>
              </a:ext>
            </a:extLst>
          </p:cNvPr>
          <p:cNvSpPr/>
          <p:nvPr userDrawn="1"/>
        </p:nvSpPr>
        <p:spPr>
          <a:xfrm>
            <a:off x="0" y="1150938"/>
            <a:ext cx="239184" cy="57070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6482C3"/>
              </a:solidFill>
            </a:endParaRPr>
          </a:p>
        </p:txBody>
      </p:sp>
      <p:sp>
        <p:nvSpPr>
          <p:cNvPr id="3" name="Rectangle 8">
            <a:extLst>
              <a:ext uri="{FF2B5EF4-FFF2-40B4-BE49-F238E27FC236}">
                <a16:creationId xmlns:a16="http://schemas.microsoft.com/office/drawing/2014/main" id="{5CDF62D5-A118-450A-A7D4-3A108234BFFA}"/>
              </a:ext>
            </a:extLst>
          </p:cNvPr>
          <p:cNvSpPr/>
          <p:nvPr userDrawn="1"/>
        </p:nvSpPr>
        <p:spPr>
          <a:xfrm>
            <a:off x="11952818" y="1147764"/>
            <a:ext cx="239183" cy="571023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F0414B"/>
              </a:solidFill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B0913A8-7A68-4DBC-997C-DABEBADB1F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1AA4AF7D-2681-43FD-A53E-EE7FE12BBC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5DA6B9-5E85-42AD-A002-CDC44751B8CF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911951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 Waterm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9" descr="ACROSS_Keylines.png">
            <a:extLst>
              <a:ext uri="{FF2B5EF4-FFF2-40B4-BE49-F238E27FC236}">
                <a16:creationId xmlns:a16="http://schemas.microsoft.com/office/drawing/2014/main" id="{D7D226F9-2537-441D-B9C5-B1BAA46B92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788" b="41772"/>
          <a:stretch>
            <a:fillRect/>
          </a:stretch>
        </p:blipFill>
        <p:spPr bwMode="auto">
          <a:xfrm>
            <a:off x="5374218" y="1489076"/>
            <a:ext cx="6817783" cy="536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10">
            <a:extLst>
              <a:ext uri="{FF2B5EF4-FFF2-40B4-BE49-F238E27FC236}">
                <a16:creationId xmlns:a16="http://schemas.microsoft.com/office/drawing/2014/main" id="{59C5B31F-0648-4E1C-92FA-2FBA38FB982F}"/>
              </a:ext>
            </a:extLst>
          </p:cNvPr>
          <p:cNvSpPr/>
          <p:nvPr userDrawn="1"/>
        </p:nvSpPr>
        <p:spPr>
          <a:xfrm>
            <a:off x="0" y="1150938"/>
            <a:ext cx="239184" cy="57070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6482C3"/>
              </a:solidFill>
            </a:endParaRPr>
          </a:p>
        </p:txBody>
      </p:sp>
      <p:sp>
        <p:nvSpPr>
          <p:cNvPr id="9" name="Rectangle 11">
            <a:extLst>
              <a:ext uri="{FF2B5EF4-FFF2-40B4-BE49-F238E27FC236}">
                <a16:creationId xmlns:a16="http://schemas.microsoft.com/office/drawing/2014/main" id="{BFE6C0EE-345C-49F0-97AB-8B7E41E7E26B}"/>
              </a:ext>
            </a:extLst>
          </p:cNvPr>
          <p:cNvSpPr/>
          <p:nvPr userDrawn="1"/>
        </p:nvSpPr>
        <p:spPr>
          <a:xfrm>
            <a:off x="11952818" y="1147764"/>
            <a:ext cx="239183" cy="571023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F0414B"/>
              </a:solidFill>
            </a:endParaRPr>
          </a:p>
        </p:txBody>
      </p:sp>
      <p:cxnSp>
        <p:nvCxnSpPr>
          <p:cNvPr id="10" name="Straight Connector 12">
            <a:extLst>
              <a:ext uri="{FF2B5EF4-FFF2-40B4-BE49-F238E27FC236}">
                <a16:creationId xmlns:a16="http://schemas.microsoft.com/office/drawing/2014/main" id="{2105A9BA-6202-44F7-B147-3EB87D2846F3}"/>
              </a:ext>
            </a:extLst>
          </p:cNvPr>
          <p:cNvCxnSpPr/>
          <p:nvPr userDrawn="1"/>
        </p:nvCxnSpPr>
        <p:spPr>
          <a:xfrm>
            <a:off x="0" y="1147763"/>
            <a:ext cx="12192000" cy="0"/>
          </a:xfrm>
          <a:prstGeom prst="line">
            <a:avLst/>
          </a:prstGeom>
          <a:ln w="3175" cmpd="sng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599" y="1961605"/>
            <a:ext cx="10972800" cy="4203700"/>
          </a:xfrm>
        </p:spPr>
        <p:txBody>
          <a:bodyPr/>
          <a:lstStyle>
            <a:lvl1pPr marL="177800" indent="-177800">
              <a:defRPr>
                <a:solidFill>
                  <a:srgbClr val="5A5A5A"/>
                </a:solidFill>
              </a:defRPr>
            </a:lvl1pPr>
            <a:lvl2pPr marL="450850" indent="-273050">
              <a:defRPr sz="1800">
                <a:solidFill>
                  <a:srgbClr val="5A5A5A"/>
                </a:solidFill>
              </a:defRPr>
            </a:lvl2pPr>
            <a:lvl3pPr marL="628650" indent="-177800">
              <a:defRPr>
                <a:solidFill>
                  <a:srgbClr val="5A5A5A"/>
                </a:solidFill>
              </a:defRPr>
            </a:lvl3pPr>
            <a:lvl4pPr marL="895350" indent="-266700">
              <a:defRPr>
                <a:solidFill>
                  <a:srgbClr val="5A5A5A"/>
                </a:solidFill>
              </a:defRPr>
            </a:lvl4pPr>
            <a:lvl5pPr marL="1079500" indent="-184150">
              <a:defRPr>
                <a:solidFill>
                  <a:srgbClr val="5A5A5A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2883" y="1331384"/>
            <a:ext cx="11006400" cy="60480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9599" y="163200"/>
            <a:ext cx="11247968" cy="9144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Footer Placeholder 5">
            <a:extLst>
              <a:ext uri="{FF2B5EF4-FFF2-40B4-BE49-F238E27FC236}">
                <a16:creationId xmlns:a16="http://schemas.microsoft.com/office/drawing/2014/main" id="{37FB0428-9998-4B7C-A778-33E67A0F7E8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2" name="Slide Number Placeholder 7">
            <a:extLst>
              <a:ext uri="{FF2B5EF4-FFF2-40B4-BE49-F238E27FC236}">
                <a16:creationId xmlns:a16="http://schemas.microsoft.com/office/drawing/2014/main" id="{B54AC8DE-A140-49BA-B64E-D4A87CD3C3C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11738-DB77-49EF-AA18-EE87F88BEC34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003931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Palette - Referenc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6">
            <a:extLst>
              <a:ext uri="{FF2B5EF4-FFF2-40B4-BE49-F238E27FC236}">
                <a16:creationId xmlns:a16="http://schemas.microsoft.com/office/drawing/2014/main" id="{BEC32BAB-5E91-48B1-8E66-09D0D7888475}"/>
              </a:ext>
            </a:extLst>
          </p:cNvPr>
          <p:cNvSpPr txBox="1">
            <a:spLocks/>
          </p:cNvSpPr>
          <p:nvPr userDrawn="1"/>
        </p:nvSpPr>
        <p:spPr>
          <a:xfrm>
            <a:off x="10991851" y="6308726"/>
            <a:ext cx="590549" cy="365125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r" defTabSz="4572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F3C0BD15-8D38-4383-AECA-36C9E9568A50}" type="slidenum">
              <a:rPr lang="en-GB" sz="1200" smtClean="0">
                <a:solidFill>
                  <a:srgbClr val="5A5A5A"/>
                </a:solidFill>
              </a:rPr>
              <a:pPr>
                <a:defRPr/>
              </a:pPr>
              <a:t>‹nr.›</a:t>
            </a:fld>
            <a:endParaRPr lang="en-GB" sz="1200" dirty="0">
              <a:solidFill>
                <a:srgbClr val="5A5A5A"/>
              </a:solidFill>
            </a:endParaRPr>
          </a:p>
        </p:txBody>
      </p:sp>
      <p:grpSp>
        <p:nvGrpSpPr>
          <p:cNvPr id="4" name="Group 5">
            <a:extLst>
              <a:ext uri="{FF2B5EF4-FFF2-40B4-BE49-F238E27FC236}">
                <a16:creationId xmlns:a16="http://schemas.microsoft.com/office/drawing/2014/main" id="{C178AFD1-D4C7-4724-A437-0159B3610ED9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11200" y="2068514"/>
            <a:ext cx="9601200" cy="638175"/>
            <a:chOff x="533400" y="1281112"/>
            <a:chExt cx="7201086" cy="638175"/>
          </a:xfrm>
        </p:grpSpPr>
        <p:sp>
          <p:nvSpPr>
            <p:cNvPr id="5" name="Rectangle 6">
              <a:extLst>
                <a:ext uri="{FF2B5EF4-FFF2-40B4-BE49-F238E27FC236}">
                  <a16:creationId xmlns:a16="http://schemas.microsoft.com/office/drawing/2014/main" id="{BB27D9F2-F45F-4CA2-9AB3-E3B8ECD62DE9}"/>
                </a:ext>
              </a:extLst>
            </p:cNvPr>
            <p:cNvSpPr/>
            <p:nvPr/>
          </p:nvSpPr>
          <p:spPr>
            <a:xfrm>
              <a:off x="533400" y="1281112"/>
              <a:ext cx="914424" cy="63817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GB" sz="1200" dirty="0">
                <a:solidFill>
                  <a:srgbClr val="5A5A5A"/>
                </a:solidFill>
              </a:endParaRPr>
            </a:p>
          </p:txBody>
        </p:sp>
        <p:sp>
          <p:nvSpPr>
            <p:cNvPr id="6" name="TextBox 7">
              <a:extLst>
                <a:ext uri="{FF2B5EF4-FFF2-40B4-BE49-F238E27FC236}">
                  <a16:creationId xmlns:a16="http://schemas.microsoft.com/office/drawing/2014/main" id="{8815498C-CC89-442E-A1DD-3671A972C47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11660" y="1415533"/>
              <a:ext cx="6222826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GB" altLang="da-DK" sz="1200">
                  <a:solidFill>
                    <a:srgbClr val="5A5A5A"/>
                  </a:solidFill>
                </a:rPr>
                <a:t>R100 G130 B195 (</a:t>
              </a:r>
              <a:r>
                <a:rPr lang="en-GB" altLang="da-DK" sz="1200" b="1">
                  <a:solidFill>
                    <a:srgbClr val="5A5A5A"/>
                  </a:solidFill>
                </a:rPr>
                <a:t>title colour, accent 1; 25mg empa</a:t>
              </a:r>
              <a:r>
                <a:rPr lang="en-GB" altLang="da-DK" sz="1200">
                  <a:solidFill>
                    <a:srgbClr val="5A5A5A"/>
                  </a:solidFill>
                </a:rPr>
                <a:t>)</a:t>
              </a:r>
            </a:p>
          </p:txBody>
        </p:sp>
      </p:grpSp>
      <p:grpSp>
        <p:nvGrpSpPr>
          <p:cNvPr id="7" name="Group 8">
            <a:extLst>
              <a:ext uri="{FF2B5EF4-FFF2-40B4-BE49-F238E27FC236}">
                <a16:creationId xmlns:a16="http://schemas.microsoft.com/office/drawing/2014/main" id="{8537BC5E-631C-4CB3-B98E-6D7E653E1534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11201" y="3624264"/>
            <a:ext cx="9294284" cy="638175"/>
            <a:chOff x="533400" y="2837498"/>
            <a:chExt cx="6971357" cy="638175"/>
          </a:xfrm>
        </p:grpSpPr>
        <p:sp>
          <p:nvSpPr>
            <p:cNvPr id="8" name="Rectangle 9">
              <a:extLst>
                <a:ext uri="{FF2B5EF4-FFF2-40B4-BE49-F238E27FC236}">
                  <a16:creationId xmlns:a16="http://schemas.microsoft.com/office/drawing/2014/main" id="{B82B5DDC-98E1-420E-80A9-55ECBADD3129}"/>
                </a:ext>
              </a:extLst>
            </p:cNvPr>
            <p:cNvSpPr/>
            <p:nvPr/>
          </p:nvSpPr>
          <p:spPr>
            <a:xfrm>
              <a:off x="533400" y="2837498"/>
              <a:ext cx="914484" cy="638175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GB" sz="1200" dirty="0">
                <a:solidFill>
                  <a:srgbClr val="5A5A5A"/>
                </a:solidFill>
              </a:endParaRPr>
            </a:p>
          </p:txBody>
        </p:sp>
        <p:sp>
          <p:nvSpPr>
            <p:cNvPr id="9" name="TextBox 10">
              <a:extLst>
                <a:ext uri="{FF2B5EF4-FFF2-40B4-BE49-F238E27FC236}">
                  <a16:creationId xmlns:a16="http://schemas.microsoft.com/office/drawing/2014/main" id="{8F9141FB-9819-4681-ADE0-FC5FE7144AB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11660" y="2971919"/>
              <a:ext cx="599309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GB" altLang="da-DK" sz="1200">
                  <a:solidFill>
                    <a:srgbClr val="5A5A5A"/>
                  </a:solidFill>
                </a:rPr>
                <a:t>R67 G172 B153 </a:t>
              </a:r>
              <a:r>
                <a:rPr lang="en-GB" altLang="da-DK" sz="1200" b="1">
                  <a:solidFill>
                    <a:srgbClr val="5A5A5A"/>
                  </a:solidFill>
                </a:rPr>
                <a:t>(additional accent; 10 mg empa)</a:t>
              </a:r>
            </a:p>
          </p:txBody>
        </p:sp>
      </p:grpSp>
      <p:grpSp>
        <p:nvGrpSpPr>
          <p:cNvPr id="10" name="Group 11">
            <a:extLst>
              <a:ext uri="{FF2B5EF4-FFF2-40B4-BE49-F238E27FC236}">
                <a16:creationId xmlns:a16="http://schemas.microsoft.com/office/drawing/2014/main" id="{A238A472-5D15-4E1F-AAFD-BF78E0D86D6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11200" y="2846389"/>
            <a:ext cx="9501717" cy="638175"/>
            <a:chOff x="533401" y="2059305"/>
            <a:chExt cx="6712099" cy="638175"/>
          </a:xfrm>
        </p:grpSpPr>
        <p:sp>
          <p:nvSpPr>
            <p:cNvPr id="11" name="Rectangle 12">
              <a:extLst>
                <a:ext uri="{FF2B5EF4-FFF2-40B4-BE49-F238E27FC236}">
                  <a16:creationId xmlns:a16="http://schemas.microsoft.com/office/drawing/2014/main" id="{93CFF86C-3177-47EB-AA57-EB0EC7E1800A}"/>
                </a:ext>
              </a:extLst>
            </p:cNvPr>
            <p:cNvSpPr/>
            <p:nvPr/>
          </p:nvSpPr>
          <p:spPr>
            <a:xfrm>
              <a:off x="533401" y="2059305"/>
              <a:ext cx="861254" cy="63817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GB" sz="1200" dirty="0">
                <a:solidFill>
                  <a:srgbClr val="5A5A5A"/>
                </a:solidFill>
              </a:endParaRPr>
            </a:p>
          </p:txBody>
        </p:sp>
        <p:sp>
          <p:nvSpPr>
            <p:cNvPr id="12" name="TextBox 13">
              <a:extLst>
                <a:ext uri="{FF2B5EF4-FFF2-40B4-BE49-F238E27FC236}">
                  <a16:creationId xmlns:a16="http://schemas.microsoft.com/office/drawing/2014/main" id="{8DA62796-DD31-4413-A9E7-F60DFBA866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54722" y="2193726"/>
              <a:ext cx="5790778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GB" altLang="da-DK" sz="1200">
                  <a:solidFill>
                    <a:srgbClr val="5A5A5A"/>
                  </a:solidFill>
                </a:rPr>
                <a:t>R240 G65 B75 (</a:t>
              </a:r>
              <a:r>
                <a:rPr lang="en-GB" altLang="da-DK" sz="1200" b="1">
                  <a:solidFill>
                    <a:srgbClr val="5A5A5A"/>
                  </a:solidFill>
                </a:rPr>
                <a:t>subtitle colour, accent 2; pooled empa</a:t>
              </a:r>
              <a:r>
                <a:rPr lang="en-GB" altLang="da-DK" sz="1200">
                  <a:solidFill>
                    <a:srgbClr val="5A5A5A"/>
                  </a:solidFill>
                </a:rPr>
                <a:t>)</a:t>
              </a:r>
            </a:p>
          </p:txBody>
        </p:sp>
      </p:grpSp>
      <p:grpSp>
        <p:nvGrpSpPr>
          <p:cNvPr id="13" name="Group 14">
            <a:extLst>
              <a:ext uri="{FF2B5EF4-FFF2-40B4-BE49-F238E27FC236}">
                <a16:creationId xmlns:a16="http://schemas.microsoft.com/office/drawing/2014/main" id="{2B9CC97E-2BBA-47D3-B7FB-4CA062884885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11200" y="4402139"/>
            <a:ext cx="7537451" cy="638175"/>
            <a:chOff x="533400" y="3615691"/>
            <a:chExt cx="5652915" cy="638175"/>
          </a:xfrm>
        </p:grpSpPr>
        <p:sp>
          <p:nvSpPr>
            <p:cNvPr id="14" name="Rectangle 15">
              <a:extLst>
                <a:ext uri="{FF2B5EF4-FFF2-40B4-BE49-F238E27FC236}">
                  <a16:creationId xmlns:a16="http://schemas.microsoft.com/office/drawing/2014/main" id="{A034A26D-793B-4B53-BFE8-D4E792C4D7BE}"/>
                </a:ext>
              </a:extLst>
            </p:cNvPr>
            <p:cNvSpPr/>
            <p:nvPr/>
          </p:nvSpPr>
          <p:spPr>
            <a:xfrm>
              <a:off x="533400" y="3615691"/>
              <a:ext cx="914372" cy="63817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GB" sz="1200" dirty="0">
                <a:solidFill>
                  <a:srgbClr val="5A5A5A"/>
                </a:solidFill>
              </a:endParaRPr>
            </a:p>
          </p:txBody>
        </p:sp>
        <p:sp>
          <p:nvSpPr>
            <p:cNvPr id="15" name="TextBox 16">
              <a:extLst>
                <a:ext uri="{FF2B5EF4-FFF2-40B4-BE49-F238E27FC236}">
                  <a16:creationId xmlns:a16="http://schemas.microsoft.com/office/drawing/2014/main" id="{06DDA5A1-6201-4062-A2D9-6894945A71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11660" y="3750112"/>
              <a:ext cx="467465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GB" altLang="da-DK" sz="1200">
                  <a:solidFill>
                    <a:srgbClr val="5A5A5A"/>
                  </a:solidFill>
                </a:rPr>
                <a:t>R130 G130 B130 (</a:t>
              </a:r>
              <a:r>
                <a:rPr lang="en-GB" altLang="da-DK" sz="1200" b="1">
                  <a:solidFill>
                    <a:srgbClr val="5A5A5A"/>
                  </a:solidFill>
                </a:rPr>
                <a:t>axes &amp; placebo colour</a:t>
              </a:r>
              <a:r>
                <a:rPr lang="en-GB" altLang="da-DK" sz="1200">
                  <a:solidFill>
                    <a:srgbClr val="5A5A5A"/>
                  </a:solidFill>
                </a:rPr>
                <a:t>)</a:t>
              </a:r>
            </a:p>
          </p:txBody>
        </p:sp>
      </p:grpSp>
      <p:grpSp>
        <p:nvGrpSpPr>
          <p:cNvPr id="16" name="Group 17">
            <a:extLst>
              <a:ext uri="{FF2B5EF4-FFF2-40B4-BE49-F238E27FC236}">
                <a16:creationId xmlns:a16="http://schemas.microsoft.com/office/drawing/2014/main" id="{885A8BD9-C28A-4C04-9830-CCEA12736A5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11201" y="5181601"/>
            <a:ext cx="8208433" cy="638175"/>
            <a:chOff x="533400" y="4393884"/>
            <a:chExt cx="6156970" cy="638175"/>
          </a:xfrm>
        </p:grpSpPr>
        <p:sp>
          <p:nvSpPr>
            <p:cNvPr id="17" name="Rectangle 18">
              <a:extLst>
                <a:ext uri="{FF2B5EF4-FFF2-40B4-BE49-F238E27FC236}">
                  <a16:creationId xmlns:a16="http://schemas.microsoft.com/office/drawing/2014/main" id="{5A9B42C2-261E-45E0-8CEC-1CBF647E7EBD}"/>
                </a:ext>
              </a:extLst>
            </p:cNvPr>
            <p:cNvSpPr/>
            <p:nvPr/>
          </p:nvSpPr>
          <p:spPr>
            <a:xfrm>
              <a:off x="533400" y="4393884"/>
              <a:ext cx="914496" cy="63817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GB" sz="1200" dirty="0">
                <a:solidFill>
                  <a:srgbClr val="5A5A5A"/>
                </a:solidFill>
              </a:endParaRPr>
            </a:p>
          </p:txBody>
        </p:sp>
        <p:sp>
          <p:nvSpPr>
            <p:cNvPr id="18" name="TextBox 19">
              <a:extLst>
                <a:ext uri="{FF2B5EF4-FFF2-40B4-BE49-F238E27FC236}">
                  <a16:creationId xmlns:a16="http://schemas.microsoft.com/office/drawing/2014/main" id="{A88C646A-9C1B-495B-8654-E48FC018173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11660" y="4528305"/>
              <a:ext cx="517871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GB" altLang="da-DK" sz="1200">
                  <a:solidFill>
                    <a:srgbClr val="5A5A5A"/>
                  </a:solidFill>
                </a:rPr>
                <a:t>R149 G128 B178 </a:t>
              </a:r>
              <a:r>
                <a:rPr lang="en-GB" altLang="da-DK" sz="1200" b="1">
                  <a:solidFill>
                    <a:srgbClr val="5A5A5A"/>
                  </a:solidFill>
                </a:rPr>
                <a:t>(additional accent) </a:t>
              </a:r>
            </a:p>
          </p:txBody>
        </p:sp>
      </p:grpSp>
      <p:grpSp>
        <p:nvGrpSpPr>
          <p:cNvPr id="19" name="Group 20">
            <a:extLst>
              <a:ext uri="{FF2B5EF4-FFF2-40B4-BE49-F238E27FC236}">
                <a16:creationId xmlns:a16="http://schemas.microsoft.com/office/drawing/2014/main" id="{B41ECB1F-21EF-46A1-8DA1-4CC2B441FB5D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711200" y="5959476"/>
            <a:ext cx="4961467" cy="638175"/>
            <a:chOff x="533400" y="5172075"/>
            <a:chExt cx="3721460" cy="638175"/>
          </a:xfrm>
        </p:grpSpPr>
        <p:sp>
          <p:nvSpPr>
            <p:cNvPr id="20" name="Rectangle 21">
              <a:extLst>
                <a:ext uri="{FF2B5EF4-FFF2-40B4-BE49-F238E27FC236}">
                  <a16:creationId xmlns:a16="http://schemas.microsoft.com/office/drawing/2014/main" id="{496B8C2F-ADAF-451C-8C17-FB5DACA2B003}"/>
                </a:ext>
              </a:extLst>
            </p:cNvPr>
            <p:cNvSpPr/>
            <p:nvPr/>
          </p:nvSpPr>
          <p:spPr>
            <a:xfrm>
              <a:off x="533400" y="5172075"/>
              <a:ext cx="914488" cy="638175"/>
            </a:xfrm>
            <a:prstGeom prst="rect">
              <a:avLst/>
            </a:prstGeom>
            <a:solidFill>
              <a:schemeClr val="accent6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en-GB" sz="1200" dirty="0">
                <a:solidFill>
                  <a:srgbClr val="5A5A5A"/>
                </a:solidFill>
              </a:endParaRPr>
            </a:p>
          </p:txBody>
        </p:sp>
        <p:sp>
          <p:nvSpPr>
            <p:cNvPr id="21" name="TextBox 22">
              <a:extLst>
                <a:ext uri="{FF2B5EF4-FFF2-40B4-BE49-F238E27FC236}">
                  <a16:creationId xmlns:a16="http://schemas.microsoft.com/office/drawing/2014/main" id="{857A874F-1B42-433D-9327-3A2795CDA9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11660" y="5306496"/>
              <a:ext cx="274320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en-GB" altLang="da-DK" sz="1200">
                  <a:solidFill>
                    <a:srgbClr val="5A5A5A"/>
                  </a:solidFill>
                </a:rPr>
                <a:t>R210 G210 B210</a:t>
              </a:r>
            </a:p>
          </p:txBody>
        </p:sp>
      </p:grpSp>
      <p:sp>
        <p:nvSpPr>
          <p:cNvPr id="22" name="Rectangle 23">
            <a:extLst>
              <a:ext uri="{FF2B5EF4-FFF2-40B4-BE49-F238E27FC236}">
                <a16:creationId xmlns:a16="http://schemas.microsoft.com/office/drawing/2014/main" id="{43E376AC-A145-4ABC-B3F1-499825C63056}"/>
              </a:ext>
            </a:extLst>
          </p:cNvPr>
          <p:cNvSpPr/>
          <p:nvPr userDrawn="1"/>
        </p:nvSpPr>
        <p:spPr>
          <a:xfrm>
            <a:off x="711200" y="1316038"/>
            <a:ext cx="1219200" cy="639762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sz="1800" dirty="0">
              <a:solidFill>
                <a:srgbClr val="5A5A5A"/>
              </a:solidFill>
            </a:endParaRPr>
          </a:p>
        </p:txBody>
      </p:sp>
      <p:sp>
        <p:nvSpPr>
          <p:cNvPr id="23" name="TextBox 24">
            <a:extLst>
              <a:ext uri="{FF2B5EF4-FFF2-40B4-BE49-F238E27FC236}">
                <a16:creationId xmlns:a16="http://schemas.microsoft.com/office/drawing/2014/main" id="{100405C7-47B7-44E7-A360-971E356EE3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015067" y="1412876"/>
            <a:ext cx="432011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da-DK" sz="1200">
                <a:solidFill>
                  <a:srgbClr val="5A5A5A"/>
                </a:solidFill>
              </a:rPr>
              <a:t>R90 G90 B90 (</a:t>
            </a:r>
            <a:r>
              <a:rPr lang="en-GB" altLang="da-DK" sz="1200" b="1">
                <a:solidFill>
                  <a:srgbClr val="5A5A5A"/>
                </a:solidFill>
              </a:rPr>
              <a:t>text colour</a:t>
            </a:r>
            <a:r>
              <a:rPr lang="en-GB" altLang="da-DK" sz="1200">
                <a:solidFill>
                  <a:srgbClr val="5A5A5A"/>
                </a:solidFill>
              </a:rPr>
              <a:t>)</a:t>
            </a:r>
          </a:p>
        </p:txBody>
      </p:sp>
      <p:sp>
        <p:nvSpPr>
          <p:cNvPr id="24" name="TextBox 27">
            <a:extLst>
              <a:ext uri="{FF2B5EF4-FFF2-40B4-BE49-F238E27FC236}">
                <a16:creationId xmlns:a16="http://schemas.microsoft.com/office/drawing/2014/main" id="{A029140A-712F-4224-BC2C-6D97396969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44834" y="5684838"/>
            <a:ext cx="690456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da-DK" sz="1200" b="1">
                <a:solidFill>
                  <a:srgbClr val="5A5A5A"/>
                </a:solidFill>
              </a:rPr>
              <a:t>R143 G48 B137 </a:t>
            </a:r>
            <a:br>
              <a:rPr lang="en-GB" altLang="da-DK" sz="1200" b="1">
                <a:solidFill>
                  <a:srgbClr val="5A5A5A"/>
                </a:solidFill>
              </a:rPr>
            </a:br>
            <a:r>
              <a:rPr lang="en-GB" altLang="da-DK" sz="1200" b="1">
                <a:solidFill>
                  <a:srgbClr val="5A5A5A"/>
                </a:solidFill>
              </a:rPr>
              <a:t>(for linagliptin 5 mg data only)</a:t>
            </a:r>
          </a:p>
        </p:txBody>
      </p:sp>
      <p:sp>
        <p:nvSpPr>
          <p:cNvPr id="25" name="Rectangle 28">
            <a:extLst>
              <a:ext uri="{FF2B5EF4-FFF2-40B4-BE49-F238E27FC236}">
                <a16:creationId xmlns:a16="http://schemas.microsoft.com/office/drawing/2014/main" id="{2A2A1B07-E429-499B-A1DC-3756DF0070DC}"/>
              </a:ext>
            </a:extLst>
          </p:cNvPr>
          <p:cNvSpPr/>
          <p:nvPr userDrawn="1"/>
        </p:nvSpPr>
        <p:spPr>
          <a:xfrm>
            <a:off x="6096000" y="5684839"/>
            <a:ext cx="1219200" cy="638175"/>
          </a:xfrm>
          <a:prstGeom prst="rect">
            <a:avLst/>
          </a:prstGeom>
          <a:solidFill>
            <a:srgbClr val="8F308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GB" sz="1200" dirty="0">
              <a:solidFill>
                <a:srgbClr val="5A5A5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en i masteren</a:t>
            </a:r>
            <a:endParaRPr lang="en-GB" dirty="0"/>
          </a:p>
        </p:txBody>
      </p:sp>
      <p:sp>
        <p:nvSpPr>
          <p:cNvPr id="26" name="Footer Placeholder 2">
            <a:extLst>
              <a:ext uri="{FF2B5EF4-FFF2-40B4-BE49-F238E27FC236}">
                <a16:creationId xmlns:a16="http://schemas.microsoft.com/office/drawing/2014/main" id="{60E4043C-1DBF-4CED-BD2B-F1067D723F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7" name="Slide Number Placeholder 3">
            <a:extLst>
              <a:ext uri="{FF2B5EF4-FFF2-40B4-BE49-F238E27FC236}">
                <a16:creationId xmlns:a16="http://schemas.microsoft.com/office/drawing/2014/main" id="{6EEF6A50-A425-432F-AB3F-F4F7EAF67FE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z="1200" smtClean="0"/>
            </a:lvl1pPr>
          </a:lstStyle>
          <a:p>
            <a:pPr>
              <a:defRPr/>
            </a:pPr>
            <a:fld id="{BE467033-4C3C-49B6-906F-E599C4D2B6BD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490045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04788" indent="-204788">
              <a:defRPr/>
            </a:lvl1pPr>
            <a:lvl2pPr marL="401241" indent="-196454">
              <a:defRPr/>
            </a:lvl2pPr>
            <a:lvl3pPr marL="606029" indent="-204788">
              <a:defRPr/>
            </a:lvl3pPr>
            <a:lvl4pPr marL="810816" indent="-204788">
              <a:defRPr/>
            </a:lvl4pPr>
            <a:lvl5pPr marL="1006079" indent="-195263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5364" y="6512133"/>
            <a:ext cx="9122833" cy="115416"/>
          </a:xfrm>
        </p:spPr>
        <p:txBody>
          <a:bodyPr anchor="b">
            <a:spAutoFit/>
          </a:bodyPr>
          <a:lstStyle>
            <a:lvl1pPr marL="0" indent="0">
              <a:buNone/>
              <a:defRPr sz="750"/>
            </a:lvl1pPr>
            <a:lvl2pPr marL="342900" indent="0">
              <a:buNone/>
              <a:defRPr sz="825"/>
            </a:lvl2pPr>
            <a:lvl3pPr marL="685800" indent="0">
              <a:buNone/>
              <a:defRPr sz="788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7A131CB-809D-4AFE-997E-90C6DD86902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81F38E-E057-41ED-A86B-64492A52BE8B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903112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5364" y="6512133"/>
            <a:ext cx="9122833" cy="115416"/>
          </a:xfrm>
        </p:spPr>
        <p:txBody>
          <a:bodyPr anchor="b">
            <a:spAutoFit/>
          </a:bodyPr>
          <a:lstStyle>
            <a:lvl1pPr marL="0" indent="0">
              <a:buNone/>
              <a:defRPr sz="750"/>
            </a:lvl1pPr>
            <a:lvl2pPr marL="342900" indent="0">
              <a:buNone/>
              <a:defRPr sz="825"/>
            </a:lvl2pPr>
            <a:lvl3pPr marL="685800" indent="0">
              <a:buNone/>
              <a:defRPr sz="788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9B215A-2CA8-4F2C-845D-C75CA7FFC7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10945285" y="6597650"/>
            <a:ext cx="1246716" cy="2603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00D32B-2DA5-4CDA-AE5E-8A970A431465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924825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322015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>
            <a:extLst>
              <a:ext uri="{FF2B5EF4-FFF2-40B4-BE49-F238E27FC236}">
                <a16:creationId xmlns:a16="http://schemas.microsoft.com/office/drawing/2014/main" id="{36A3E311-0812-4A74-AFF8-B19181EE4A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984" y="0"/>
            <a:ext cx="4917016" cy="424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1851" y="1710268"/>
            <a:ext cx="4987200" cy="1500717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831851" y="3249085"/>
            <a:ext cx="4987200" cy="1500717"/>
          </a:xfrm>
        </p:spPr>
        <p:txBody>
          <a:bodyPr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2">
            <a:extLst>
              <a:ext uri="{FF2B5EF4-FFF2-40B4-BE49-F238E27FC236}">
                <a16:creationId xmlns:a16="http://schemas.microsoft.com/office/drawing/2014/main" id="{32D84614-7E48-495F-95AA-35FA7A50A4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582151" y="138114"/>
            <a:ext cx="1602316" cy="136525"/>
          </a:xfrm>
        </p:spPr>
        <p:txBody>
          <a:bodyPr/>
          <a:lstStyle>
            <a:lvl1pPr eaLnBrk="1" hangingPunct="1">
              <a:defRPr dirty="0"/>
            </a:lvl1pPr>
          </a:lstStyle>
          <a:p>
            <a:pPr>
              <a:defRPr/>
            </a:pPr>
            <a:r>
              <a:rPr lang="en-US"/>
              <a:t>Date</a:t>
            </a:r>
            <a:endParaRPr lang="en-GB"/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896E7D22-EA54-44F0-B9E8-FB15471856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64718" y="138114"/>
            <a:ext cx="3867149" cy="1365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GB"/>
              <a:t>PowerPoint toolbox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7016DD7-5DB4-4BFB-B663-ABC091B6C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0" y="139701"/>
            <a:ext cx="414867" cy="1365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4412BF0C-F696-4625-B4EE-74ADBDF2460C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644083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image" Target="../media/image14.png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3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41.xml"/><Relationship Id="rId10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tags" Target="../tags/tag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41C12D83-C7A3-5B2E-665D-D1AFAD46D8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883EA1A3-AC23-7663-56A9-E53BFBC239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B2E13A6-AEDE-9DED-1CDA-5A28C311EF5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472B0E-C09B-4693-A89E-D34A74ECA21B}" type="datetimeFigureOut">
              <a:rPr lang="da-DK" smtClean="0"/>
              <a:t>07-06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BF8B8AA-B3BE-6DFD-C5BC-AA37962CF7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D70F5C21-734A-7A2A-3309-A75E8FC630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C46BE7-77C3-4533-BF30-57BD74EFE84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41943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33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26" name="Group 2">
            <a:extLst>
              <a:ext uri="{FF2B5EF4-FFF2-40B4-BE49-F238E27FC236}">
                <a16:creationId xmlns:a16="http://schemas.microsoft.com/office/drawing/2014/main" id="{E7135CDA-FF03-414C-86CE-8E9B43CC1A5C}"/>
              </a:ext>
            </a:extLst>
          </p:cNvPr>
          <p:cNvGrpSpPr>
            <a:grpSpLocks/>
          </p:cNvGrpSpPr>
          <p:nvPr/>
        </p:nvGrpSpPr>
        <p:grpSpPr bwMode="auto">
          <a:xfrm>
            <a:off x="0" y="1"/>
            <a:ext cx="12192000" cy="6856413"/>
            <a:chOff x="0" y="0"/>
            <a:chExt cx="5760" cy="4319"/>
          </a:xfrm>
        </p:grpSpPr>
        <p:sp>
          <p:nvSpPr>
            <p:cNvPr id="271363" name="Freeform 3">
              <a:extLst>
                <a:ext uri="{FF2B5EF4-FFF2-40B4-BE49-F238E27FC236}">
                  <a16:creationId xmlns:a16="http://schemas.microsoft.com/office/drawing/2014/main" id="{976902DA-C770-4CD3-8C13-EADD667269B3}"/>
                </a:ext>
              </a:extLst>
            </p:cNvPr>
            <p:cNvSpPr>
              <a:spLocks/>
            </p:cNvSpPr>
            <p:nvPr/>
          </p:nvSpPr>
          <p:spPr bwMode="hidden">
            <a:xfrm>
              <a:off x="0" y="12"/>
              <a:ext cx="5758" cy="3273"/>
            </a:xfrm>
            <a:custGeom>
              <a:avLst/>
              <a:gdLst>
                <a:gd name="T0" fmla="*/ 3193 w 5740"/>
                <a:gd name="T1" fmla="*/ 1816 h 3273"/>
                <a:gd name="T2" fmla="*/ 0 w 5740"/>
                <a:gd name="T3" fmla="*/ 0 h 3273"/>
                <a:gd name="T4" fmla="*/ 0 w 5740"/>
                <a:gd name="T5" fmla="*/ 522 h 3273"/>
                <a:gd name="T6" fmla="*/ 3037 w 5740"/>
                <a:gd name="T7" fmla="*/ 1978 h 3273"/>
                <a:gd name="T8" fmla="*/ 5740 w 5740"/>
                <a:gd name="T9" fmla="*/ 3273 h 3273"/>
                <a:gd name="T10" fmla="*/ 5740 w 5740"/>
                <a:gd name="T11" fmla="*/ 3267 h 3273"/>
                <a:gd name="T12" fmla="*/ 3193 w 5740"/>
                <a:gd name="T13" fmla="*/ 1816 h 3273"/>
                <a:gd name="T14" fmla="*/ 3193 w 5740"/>
                <a:gd name="T15" fmla="*/ 1816 h 3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40" h="3273">
                  <a:moveTo>
                    <a:pt x="3193" y="1816"/>
                  </a:moveTo>
                  <a:lnTo>
                    <a:pt x="0" y="0"/>
                  </a:lnTo>
                  <a:lnTo>
                    <a:pt x="0" y="522"/>
                  </a:lnTo>
                  <a:lnTo>
                    <a:pt x="3037" y="1978"/>
                  </a:lnTo>
                  <a:lnTo>
                    <a:pt x="5740" y="3273"/>
                  </a:lnTo>
                  <a:lnTo>
                    <a:pt x="5740" y="3267"/>
                  </a:lnTo>
                  <a:lnTo>
                    <a:pt x="3193" y="1816"/>
                  </a:lnTo>
                  <a:lnTo>
                    <a:pt x="3193" y="181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3529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64" name="Freeform 4">
              <a:extLst>
                <a:ext uri="{FF2B5EF4-FFF2-40B4-BE49-F238E27FC236}">
                  <a16:creationId xmlns:a16="http://schemas.microsoft.com/office/drawing/2014/main" id="{0BED9A4A-5D97-4E27-B535-060B9A50DCD9}"/>
                </a:ext>
              </a:extLst>
            </p:cNvPr>
            <p:cNvSpPr>
              <a:spLocks/>
            </p:cNvSpPr>
            <p:nvPr/>
          </p:nvSpPr>
          <p:spPr bwMode="hidden">
            <a:xfrm>
              <a:off x="149" y="0"/>
              <a:ext cx="5609" cy="3243"/>
            </a:xfrm>
            <a:custGeom>
              <a:avLst/>
              <a:gdLst>
                <a:gd name="T0" fmla="*/ 3163 w 5591"/>
                <a:gd name="T1" fmla="*/ 1714 h 3243"/>
                <a:gd name="T2" fmla="*/ 431 w 5591"/>
                <a:gd name="T3" fmla="*/ 0 h 3243"/>
                <a:gd name="T4" fmla="*/ 0 w 5591"/>
                <a:gd name="T5" fmla="*/ 0 h 3243"/>
                <a:gd name="T6" fmla="*/ 3086 w 5591"/>
                <a:gd name="T7" fmla="*/ 1786 h 3243"/>
                <a:gd name="T8" fmla="*/ 5591 w 5591"/>
                <a:gd name="T9" fmla="*/ 3243 h 3243"/>
                <a:gd name="T10" fmla="*/ 5591 w 5591"/>
                <a:gd name="T11" fmla="*/ 3237 h 3243"/>
                <a:gd name="T12" fmla="*/ 3163 w 5591"/>
                <a:gd name="T13" fmla="*/ 1714 h 3243"/>
                <a:gd name="T14" fmla="*/ 3163 w 5591"/>
                <a:gd name="T15" fmla="*/ 1714 h 3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91" h="3243">
                  <a:moveTo>
                    <a:pt x="3163" y="1714"/>
                  </a:moveTo>
                  <a:lnTo>
                    <a:pt x="431" y="0"/>
                  </a:lnTo>
                  <a:lnTo>
                    <a:pt x="0" y="0"/>
                  </a:lnTo>
                  <a:lnTo>
                    <a:pt x="3086" y="1786"/>
                  </a:lnTo>
                  <a:lnTo>
                    <a:pt x="5591" y="3243"/>
                  </a:lnTo>
                  <a:lnTo>
                    <a:pt x="5591" y="3237"/>
                  </a:lnTo>
                  <a:lnTo>
                    <a:pt x="3163" y="1714"/>
                  </a:lnTo>
                  <a:lnTo>
                    <a:pt x="3163" y="1714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65" name="Freeform 5">
              <a:extLst>
                <a:ext uri="{FF2B5EF4-FFF2-40B4-BE49-F238E27FC236}">
                  <a16:creationId xmlns:a16="http://schemas.microsoft.com/office/drawing/2014/main" id="{2995B7D3-99C7-40A1-84F7-83FCA305DB28}"/>
                </a:ext>
              </a:extLst>
            </p:cNvPr>
            <p:cNvSpPr>
              <a:spLocks/>
            </p:cNvSpPr>
            <p:nvPr/>
          </p:nvSpPr>
          <p:spPr bwMode="hidden">
            <a:xfrm>
              <a:off x="0" y="3433"/>
              <a:ext cx="4038" cy="191"/>
            </a:xfrm>
            <a:custGeom>
              <a:avLst/>
              <a:gdLst>
                <a:gd name="T0" fmla="*/ 0 w 4042"/>
                <a:gd name="T1" fmla="*/ 156 h 192"/>
                <a:gd name="T2" fmla="*/ 4042 w 4042"/>
                <a:gd name="T3" fmla="*/ 192 h 192"/>
                <a:gd name="T4" fmla="*/ 4042 w 4042"/>
                <a:gd name="T5" fmla="*/ 144 h 192"/>
                <a:gd name="T6" fmla="*/ 0 w 4042"/>
                <a:gd name="T7" fmla="*/ 0 h 192"/>
                <a:gd name="T8" fmla="*/ 0 w 4042"/>
                <a:gd name="T9" fmla="*/ 156 h 192"/>
                <a:gd name="T10" fmla="*/ 0 w 4042"/>
                <a:gd name="T11" fmla="*/ 15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42" h="192">
                  <a:moveTo>
                    <a:pt x="0" y="156"/>
                  </a:moveTo>
                  <a:lnTo>
                    <a:pt x="4042" y="192"/>
                  </a:lnTo>
                  <a:lnTo>
                    <a:pt x="4042" y="144"/>
                  </a:lnTo>
                  <a:lnTo>
                    <a:pt x="0" y="0"/>
                  </a:lnTo>
                  <a:lnTo>
                    <a:pt x="0" y="156"/>
                  </a:lnTo>
                  <a:lnTo>
                    <a:pt x="0" y="15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5686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6635" name="Freeform 6">
              <a:extLst>
                <a:ext uri="{FF2B5EF4-FFF2-40B4-BE49-F238E27FC236}">
                  <a16:creationId xmlns:a16="http://schemas.microsoft.com/office/drawing/2014/main" id="{AA52C15E-7051-4D40-A1B9-0494B50E7EA7}"/>
                </a:ext>
              </a:extLst>
            </p:cNvPr>
            <p:cNvSpPr>
              <a:spLocks/>
            </p:cNvSpPr>
            <p:nvPr/>
          </p:nvSpPr>
          <p:spPr bwMode="hidden">
            <a:xfrm>
              <a:off x="4038" y="3577"/>
              <a:ext cx="1720" cy="65"/>
            </a:xfrm>
            <a:custGeom>
              <a:avLst/>
              <a:gdLst>
                <a:gd name="T0" fmla="*/ 1696 w 1722"/>
                <a:gd name="T1" fmla="*/ 53 h 66"/>
                <a:gd name="T2" fmla="*/ 1696 w 1722"/>
                <a:gd name="T3" fmla="*/ 47 h 66"/>
                <a:gd name="T4" fmla="*/ 0 w 1722"/>
                <a:gd name="T5" fmla="*/ 0 h 66"/>
                <a:gd name="T6" fmla="*/ 0 w 1722"/>
                <a:gd name="T7" fmla="*/ 35 h 66"/>
                <a:gd name="T8" fmla="*/ 1696 w 1722"/>
                <a:gd name="T9" fmla="*/ 53 h 66"/>
                <a:gd name="T10" fmla="*/ 1696 w 1722"/>
                <a:gd name="T11" fmla="*/ 53 h 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722" h="66">
                  <a:moveTo>
                    <a:pt x="1722" y="66"/>
                  </a:moveTo>
                  <a:lnTo>
                    <a:pt x="1722" y="60"/>
                  </a:lnTo>
                  <a:lnTo>
                    <a:pt x="0" y="0"/>
                  </a:lnTo>
                  <a:lnTo>
                    <a:pt x="0" y="48"/>
                  </a:lnTo>
                  <a:lnTo>
                    <a:pt x="1722" y="66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71367" name="Freeform 7">
              <a:extLst>
                <a:ext uri="{FF2B5EF4-FFF2-40B4-BE49-F238E27FC236}">
                  <a16:creationId xmlns:a16="http://schemas.microsoft.com/office/drawing/2014/main" id="{9DE14B2D-1514-47B8-854F-09D520B8F5C9}"/>
                </a:ext>
              </a:extLst>
            </p:cNvPr>
            <p:cNvSpPr>
              <a:spLocks/>
            </p:cNvSpPr>
            <p:nvPr/>
          </p:nvSpPr>
          <p:spPr bwMode="hidden">
            <a:xfrm>
              <a:off x="0" y="3726"/>
              <a:ext cx="4784" cy="329"/>
            </a:xfrm>
            <a:custGeom>
              <a:avLst/>
              <a:gdLst>
                <a:gd name="T0" fmla="*/ 0 w 4789"/>
                <a:gd name="T1" fmla="*/ 329 h 329"/>
                <a:gd name="T2" fmla="*/ 4789 w 4789"/>
                <a:gd name="T3" fmla="*/ 77 h 329"/>
                <a:gd name="T4" fmla="*/ 4789 w 4789"/>
                <a:gd name="T5" fmla="*/ 0 h 329"/>
                <a:gd name="T6" fmla="*/ 0 w 4789"/>
                <a:gd name="T7" fmla="*/ 107 h 329"/>
                <a:gd name="T8" fmla="*/ 0 w 4789"/>
                <a:gd name="T9" fmla="*/ 329 h 329"/>
                <a:gd name="T10" fmla="*/ 0 w 4789"/>
                <a:gd name="T11" fmla="*/ 32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89" h="329">
                  <a:moveTo>
                    <a:pt x="0" y="329"/>
                  </a:moveTo>
                  <a:lnTo>
                    <a:pt x="4789" y="77"/>
                  </a:lnTo>
                  <a:lnTo>
                    <a:pt x="4789" y="0"/>
                  </a:lnTo>
                  <a:lnTo>
                    <a:pt x="0" y="107"/>
                  </a:lnTo>
                  <a:lnTo>
                    <a:pt x="0" y="329"/>
                  </a:lnTo>
                  <a:lnTo>
                    <a:pt x="0" y="329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1961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6637" name="Freeform 8">
              <a:extLst>
                <a:ext uri="{FF2B5EF4-FFF2-40B4-BE49-F238E27FC236}">
                  <a16:creationId xmlns:a16="http://schemas.microsoft.com/office/drawing/2014/main" id="{A966BA32-B84C-4A5C-8549-8C883ECDCD45}"/>
                </a:ext>
              </a:extLst>
            </p:cNvPr>
            <p:cNvSpPr>
              <a:spLocks/>
            </p:cNvSpPr>
            <p:nvPr/>
          </p:nvSpPr>
          <p:spPr bwMode="hidden">
            <a:xfrm>
              <a:off x="4784" y="3702"/>
              <a:ext cx="974" cy="101"/>
            </a:xfrm>
            <a:custGeom>
              <a:avLst/>
              <a:gdLst>
                <a:gd name="T0" fmla="*/ 962 w 975"/>
                <a:gd name="T1" fmla="*/ 48 h 101"/>
                <a:gd name="T2" fmla="*/ 962 w 975"/>
                <a:gd name="T3" fmla="*/ 0 h 101"/>
                <a:gd name="T4" fmla="*/ 0 w 975"/>
                <a:gd name="T5" fmla="*/ 24 h 101"/>
                <a:gd name="T6" fmla="*/ 0 w 975"/>
                <a:gd name="T7" fmla="*/ 101 h 101"/>
                <a:gd name="T8" fmla="*/ 962 w 975"/>
                <a:gd name="T9" fmla="*/ 48 h 101"/>
                <a:gd name="T10" fmla="*/ 962 w 975"/>
                <a:gd name="T11" fmla="*/ 48 h 10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75" h="101">
                  <a:moveTo>
                    <a:pt x="975" y="48"/>
                  </a:moveTo>
                  <a:lnTo>
                    <a:pt x="975" y="0"/>
                  </a:lnTo>
                  <a:lnTo>
                    <a:pt x="0" y="24"/>
                  </a:lnTo>
                  <a:lnTo>
                    <a:pt x="0" y="101"/>
                  </a:lnTo>
                  <a:lnTo>
                    <a:pt x="975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6638" name="Freeform 9">
              <a:extLst>
                <a:ext uri="{FF2B5EF4-FFF2-40B4-BE49-F238E27FC236}">
                  <a16:creationId xmlns:a16="http://schemas.microsoft.com/office/drawing/2014/main" id="{A1EA9B3A-FB1E-4A8B-A891-23ECA4204686}"/>
                </a:ext>
              </a:extLst>
            </p:cNvPr>
            <p:cNvSpPr>
              <a:spLocks/>
            </p:cNvSpPr>
            <p:nvPr/>
          </p:nvSpPr>
          <p:spPr bwMode="hidden">
            <a:xfrm>
              <a:off x="3619" y="3815"/>
              <a:ext cx="2139" cy="198"/>
            </a:xfrm>
            <a:custGeom>
              <a:avLst/>
              <a:gdLst>
                <a:gd name="T0" fmla="*/ 2115 w 2141"/>
                <a:gd name="T1" fmla="*/ 0 h 198"/>
                <a:gd name="T2" fmla="*/ 0 w 2141"/>
                <a:gd name="T3" fmla="*/ 156 h 198"/>
                <a:gd name="T4" fmla="*/ 0 w 2141"/>
                <a:gd name="T5" fmla="*/ 198 h 198"/>
                <a:gd name="T6" fmla="*/ 2115 w 2141"/>
                <a:gd name="T7" fmla="*/ 0 h 198"/>
                <a:gd name="T8" fmla="*/ 2115 w 2141"/>
                <a:gd name="T9" fmla="*/ 0 h 1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141" h="198">
                  <a:moveTo>
                    <a:pt x="2141" y="0"/>
                  </a:moveTo>
                  <a:lnTo>
                    <a:pt x="0" y="156"/>
                  </a:lnTo>
                  <a:lnTo>
                    <a:pt x="0" y="198"/>
                  </a:lnTo>
                  <a:lnTo>
                    <a:pt x="214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71370" name="Freeform 10">
              <a:extLst>
                <a:ext uri="{FF2B5EF4-FFF2-40B4-BE49-F238E27FC236}">
                  <a16:creationId xmlns:a16="http://schemas.microsoft.com/office/drawing/2014/main" id="{E41534D5-3F11-428F-B420-260B45990734}"/>
                </a:ext>
              </a:extLst>
            </p:cNvPr>
            <p:cNvSpPr>
              <a:spLocks/>
            </p:cNvSpPr>
            <p:nvPr/>
          </p:nvSpPr>
          <p:spPr bwMode="hidden">
            <a:xfrm>
              <a:off x="0" y="3971"/>
              <a:ext cx="3619" cy="348"/>
            </a:xfrm>
            <a:custGeom>
              <a:avLst/>
              <a:gdLst>
                <a:gd name="T0" fmla="*/ 0 w 3623"/>
                <a:gd name="T1" fmla="*/ 348 h 348"/>
                <a:gd name="T2" fmla="*/ 311 w 3623"/>
                <a:gd name="T3" fmla="*/ 348 h 348"/>
                <a:gd name="T4" fmla="*/ 3623 w 3623"/>
                <a:gd name="T5" fmla="*/ 42 h 348"/>
                <a:gd name="T6" fmla="*/ 3623 w 3623"/>
                <a:gd name="T7" fmla="*/ 0 h 348"/>
                <a:gd name="T8" fmla="*/ 0 w 3623"/>
                <a:gd name="T9" fmla="*/ 264 h 348"/>
                <a:gd name="T10" fmla="*/ 0 w 3623"/>
                <a:gd name="T11" fmla="*/ 348 h 348"/>
                <a:gd name="T12" fmla="*/ 0 w 3623"/>
                <a:gd name="T13" fmla="*/ 348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23" h="348">
                  <a:moveTo>
                    <a:pt x="0" y="348"/>
                  </a:moveTo>
                  <a:lnTo>
                    <a:pt x="311" y="348"/>
                  </a:lnTo>
                  <a:lnTo>
                    <a:pt x="3623" y="42"/>
                  </a:lnTo>
                  <a:lnTo>
                    <a:pt x="3623" y="0"/>
                  </a:lnTo>
                  <a:lnTo>
                    <a:pt x="0" y="264"/>
                  </a:lnTo>
                  <a:lnTo>
                    <a:pt x="0" y="348"/>
                  </a:lnTo>
                  <a:lnTo>
                    <a:pt x="0" y="3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6640" name="Freeform 11">
              <a:extLst>
                <a:ext uri="{FF2B5EF4-FFF2-40B4-BE49-F238E27FC236}">
                  <a16:creationId xmlns:a16="http://schemas.microsoft.com/office/drawing/2014/main" id="{9E447D26-BAFF-4BA9-9EC3-C2E54606C1D9}"/>
                </a:ext>
              </a:extLst>
            </p:cNvPr>
            <p:cNvSpPr>
              <a:spLocks/>
            </p:cNvSpPr>
            <p:nvPr/>
          </p:nvSpPr>
          <p:spPr bwMode="hidden">
            <a:xfrm>
              <a:off x="2097" y="4043"/>
              <a:ext cx="2514" cy="276"/>
            </a:xfrm>
            <a:custGeom>
              <a:avLst/>
              <a:gdLst>
                <a:gd name="T0" fmla="*/ 2143 w 2517"/>
                <a:gd name="T1" fmla="*/ 276 h 276"/>
                <a:gd name="T2" fmla="*/ 2478 w 2517"/>
                <a:gd name="T3" fmla="*/ 204 h 276"/>
                <a:gd name="T4" fmla="*/ 2221 w 2517"/>
                <a:gd name="T5" fmla="*/ 0 h 276"/>
                <a:gd name="T6" fmla="*/ 0 w 2517"/>
                <a:gd name="T7" fmla="*/ 276 h 276"/>
                <a:gd name="T8" fmla="*/ 2143 w 2517"/>
                <a:gd name="T9" fmla="*/ 276 h 276"/>
                <a:gd name="T10" fmla="*/ 2143 w 2517"/>
                <a:gd name="T11" fmla="*/ 276 h 27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17" h="276">
                  <a:moveTo>
                    <a:pt x="2182" y="276"/>
                  </a:moveTo>
                  <a:lnTo>
                    <a:pt x="2517" y="204"/>
                  </a:lnTo>
                  <a:lnTo>
                    <a:pt x="2260" y="0"/>
                  </a:lnTo>
                  <a:lnTo>
                    <a:pt x="0" y="276"/>
                  </a:lnTo>
                  <a:lnTo>
                    <a:pt x="2182" y="27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71372" name="Freeform 12">
              <a:extLst>
                <a:ext uri="{FF2B5EF4-FFF2-40B4-BE49-F238E27FC236}">
                  <a16:creationId xmlns:a16="http://schemas.microsoft.com/office/drawing/2014/main" id="{E913A7CE-6CC1-4AD3-9075-CDAFE12FD16D}"/>
                </a:ext>
              </a:extLst>
            </p:cNvPr>
            <p:cNvSpPr>
              <a:spLocks/>
            </p:cNvSpPr>
            <p:nvPr/>
          </p:nvSpPr>
          <p:spPr bwMode="hidden">
            <a:xfrm>
              <a:off x="4354" y="3869"/>
              <a:ext cx="1404" cy="378"/>
            </a:xfrm>
            <a:custGeom>
              <a:avLst/>
              <a:gdLst>
                <a:gd name="T0" fmla="*/ 1405 w 1405"/>
                <a:gd name="T1" fmla="*/ 126 h 378"/>
                <a:gd name="T2" fmla="*/ 1405 w 1405"/>
                <a:gd name="T3" fmla="*/ 0 h 378"/>
                <a:gd name="T4" fmla="*/ 0 w 1405"/>
                <a:gd name="T5" fmla="*/ 174 h 378"/>
                <a:gd name="T6" fmla="*/ 257 w 1405"/>
                <a:gd name="T7" fmla="*/ 378 h 378"/>
                <a:gd name="T8" fmla="*/ 1405 w 1405"/>
                <a:gd name="T9" fmla="*/ 126 h 378"/>
                <a:gd name="T10" fmla="*/ 1405 w 1405"/>
                <a:gd name="T11" fmla="*/ 126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05" h="378">
                  <a:moveTo>
                    <a:pt x="1405" y="126"/>
                  </a:moveTo>
                  <a:lnTo>
                    <a:pt x="1405" y="0"/>
                  </a:lnTo>
                  <a:lnTo>
                    <a:pt x="0" y="174"/>
                  </a:lnTo>
                  <a:lnTo>
                    <a:pt x="257" y="378"/>
                  </a:lnTo>
                  <a:lnTo>
                    <a:pt x="1405" y="126"/>
                  </a:lnTo>
                  <a:lnTo>
                    <a:pt x="1405" y="12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6863"/>
                    <a:invGamma/>
                  </a:schemeClr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6642" name="Freeform 13">
              <a:extLst>
                <a:ext uri="{FF2B5EF4-FFF2-40B4-BE49-F238E27FC236}">
                  <a16:creationId xmlns:a16="http://schemas.microsoft.com/office/drawing/2014/main" id="{4E67083F-8806-4C44-8124-8B022C5276E0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030" y="3151"/>
              <a:ext cx="728" cy="240"/>
            </a:xfrm>
            <a:custGeom>
              <a:avLst/>
              <a:gdLst>
                <a:gd name="T0" fmla="*/ 716 w 729"/>
                <a:gd name="T1" fmla="*/ 240 h 240"/>
                <a:gd name="T2" fmla="*/ 0 w 729"/>
                <a:gd name="T3" fmla="*/ 0 h 240"/>
                <a:gd name="T4" fmla="*/ 0 w 729"/>
                <a:gd name="T5" fmla="*/ 6 h 240"/>
                <a:gd name="T6" fmla="*/ 716 w 729"/>
                <a:gd name="T7" fmla="*/ 240 h 240"/>
                <a:gd name="T8" fmla="*/ 716 w 729"/>
                <a:gd name="T9" fmla="*/ 240 h 24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29" h="240">
                  <a:moveTo>
                    <a:pt x="729" y="24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729" y="2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71374" name="Freeform 14">
              <a:extLst>
                <a:ext uri="{FF2B5EF4-FFF2-40B4-BE49-F238E27FC236}">
                  <a16:creationId xmlns:a16="http://schemas.microsoft.com/office/drawing/2014/main" id="{005853DD-B684-4132-9238-8DB20AFF4B23}"/>
                </a:ext>
              </a:extLst>
            </p:cNvPr>
            <p:cNvSpPr>
              <a:spLocks/>
            </p:cNvSpPr>
            <p:nvPr/>
          </p:nvSpPr>
          <p:spPr bwMode="hidden">
            <a:xfrm>
              <a:off x="0" y="1486"/>
              <a:ext cx="5030" cy="1671"/>
            </a:xfrm>
            <a:custGeom>
              <a:avLst/>
              <a:gdLst>
                <a:gd name="T0" fmla="*/ 0 w 5035"/>
                <a:gd name="T1" fmla="*/ 72 h 1672"/>
                <a:gd name="T2" fmla="*/ 5035 w 5035"/>
                <a:gd name="T3" fmla="*/ 1672 h 1672"/>
                <a:gd name="T4" fmla="*/ 5035 w 5035"/>
                <a:gd name="T5" fmla="*/ 1666 h 1672"/>
                <a:gd name="T6" fmla="*/ 0 w 5035"/>
                <a:gd name="T7" fmla="*/ 0 h 1672"/>
                <a:gd name="T8" fmla="*/ 0 w 5035"/>
                <a:gd name="T9" fmla="*/ 72 h 1672"/>
                <a:gd name="T10" fmla="*/ 0 w 5035"/>
                <a:gd name="T11" fmla="*/ 72 h 1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35" h="1672">
                  <a:moveTo>
                    <a:pt x="0" y="72"/>
                  </a:moveTo>
                  <a:lnTo>
                    <a:pt x="5035" y="1672"/>
                  </a:lnTo>
                  <a:lnTo>
                    <a:pt x="5035" y="1666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4510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6644" name="Freeform 15">
              <a:extLst>
                <a:ext uri="{FF2B5EF4-FFF2-40B4-BE49-F238E27FC236}">
                  <a16:creationId xmlns:a16="http://schemas.microsoft.com/office/drawing/2014/main" id="{5EC27AF6-6F2C-4F56-A81D-4DD158B89830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030" y="3049"/>
              <a:ext cx="728" cy="318"/>
            </a:xfrm>
            <a:custGeom>
              <a:avLst/>
              <a:gdLst>
                <a:gd name="T0" fmla="*/ 716 w 729"/>
                <a:gd name="T1" fmla="*/ 318 h 318"/>
                <a:gd name="T2" fmla="*/ 716 w 729"/>
                <a:gd name="T3" fmla="*/ 312 h 318"/>
                <a:gd name="T4" fmla="*/ 0 w 729"/>
                <a:gd name="T5" fmla="*/ 0 h 318"/>
                <a:gd name="T6" fmla="*/ 0 w 729"/>
                <a:gd name="T7" fmla="*/ 54 h 318"/>
                <a:gd name="T8" fmla="*/ 716 w 729"/>
                <a:gd name="T9" fmla="*/ 318 h 318"/>
                <a:gd name="T10" fmla="*/ 716 w 729"/>
                <a:gd name="T11" fmla="*/ 318 h 3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729" h="318">
                  <a:moveTo>
                    <a:pt x="729" y="318"/>
                  </a:moveTo>
                  <a:lnTo>
                    <a:pt x="729" y="312"/>
                  </a:lnTo>
                  <a:lnTo>
                    <a:pt x="0" y="0"/>
                  </a:lnTo>
                  <a:lnTo>
                    <a:pt x="0" y="54"/>
                  </a:lnTo>
                  <a:lnTo>
                    <a:pt x="729" y="318"/>
                  </a:lnTo>
                  <a:close/>
                </a:path>
              </a:pathLst>
            </a:cu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71376" name="Freeform 16">
              <a:extLst>
                <a:ext uri="{FF2B5EF4-FFF2-40B4-BE49-F238E27FC236}">
                  <a16:creationId xmlns:a16="http://schemas.microsoft.com/office/drawing/2014/main" id="{2AD27664-D2EE-4881-A446-6AB8BA11502E}"/>
                </a:ext>
              </a:extLst>
            </p:cNvPr>
            <p:cNvSpPr>
              <a:spLocks/>
            </p:cNvSpPr>
            <p:nvPr/>
          </p:nvSpPr>
          <p:spPr bwMode="hidden">
            <a:xfrm>
              <a:off x="0" y="916"/>
              <a:ext cx="5030" cy="2187"/>
            </a:xfrm>
            <a:custGeom>
              <a:avLst/>
              <a:gdLst>
                <a:gd name="T0" fmla="*/ 0 w 5035"/>
                <a:gd name="T1" fmla="*/ 396 h 2188"/>
                <a:gd name="T2" fmla="*/ 5035 w 5035"/>
                <a:gd name="T3" fmla="*/ 2188 h 2188"/>
                <a:gd name="T4" fmla="*/ 5035 w 5035"/>
                <a:gd name="T5" fmla="*/ 2134 h 2188"/>
                <a:gd name="T6" fmla="*/ 0 w 5035"/>
                <a:gd name="T7" fmla="*/ 0 h 2188"/>
                <a:gd name="T8" fmla="*/ 0 w 5035"/>
                <a:gd name="T9" fmla="*/ 396 h 2188"/>
                <a:gd name="T10" fmla="*/ 0 w 5035"/>
                <a:gd name="T11" fmla="*/ 396 h 2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35" h="2188">
                  <a:moveTo>
                    <a:pt x="0" y="396"/>
                  </a:moveTo>
                  <a:lnTo>
                    <a:pt x="5035" y="2188"/>
                  </a:lnTo>
                  <a:lnTo>
                    <a:pt x="5035" y="2134"/>
                  </a:lnTo>
                  <a:lnTo>
                    <a:pt x="0" y="0"/>
                  </a:lnTo>
                  <a:lnTo>
                    <a:pt x="0" y="396"/>
                  </a:lnTo>
                  <a:lnTo>
                    <a:pt x="0" y="396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77" name="Freeform 17">
              <a:extLst>
                <a:ext uri="{FF2B5EF4-FFF2-40B4-BE49-F238E27FC236}">
                  <a16:creationId xmlns:a16="http://schemas.microsoft.com/office/drawing/2014/main" id="{0E8BD238-DDBF-4BAA-8CE8-B2C2F5DADA8A}"/>
                </a:ext>
              </a:extLst>
            </p:cNvPr>
            <p:cNvSpPr>
              <a:spLocks/>
            </p:cNvSpPr>
            <p:nvPr/>
          </p:nvSpPr>
          <p:spPr bwMode="hidden">
            <a:xfrm>
              <a:off x="2294" y="0"/>
              <a:ext cx="3159" cy="2725"/>
            </a:xfrm>
            <a:custGeom>
              <a:avLst/>
              <a:gdLst>
                <a:gd name="T0" fmla="*/ 0 w 3163"/>
                <a:gd name="T1" fmla="*/ 0 h 2727"/>
                <a:gd name="T2" fmla="*/ 3145 w 3163"/>
                <a:gd name="T3" fmla="*/ 2727 h 2727"/>
                <a:gd name="T4" fmla="*/ 3163 w 3163"/>
                <a:gd name="T5" fmla="*/ 2704 h 2727"/>
                <a:gd name="T6" fmla="*/ 102 w 3163"/>
                <a:gd name="T7" fmla="*/ 0 h 2727"/>
                <a:gd name="T8" fmla="*/ 0 w 3163"/>
                <a:gd name="T9" fmla="*/ 0 h 2727"/>
                <a:gd name="T10" fmla="*/ 0 w 3163"/>
                <a:gd name="T11" fmla="*/ 0 h 2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63" h="2727">
                  <a:moveTo>
                    <a:pt x="0" y="0"/>
                  </a:moveTo>
                  <a:lnTo>
                    <a:pt x="3145" y="2727"/>
                  </a:lnTo>
                  <a:lnTo>
                    <a:pt x="3163" y="2704"/>
                  </a:lnTo>
                  <a:lnTo>
                    <a:pt x="10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980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78" name="Freeform 18">
              <a:extLst>
                <a:ext uri="{FF2B5EF4-FFF2-40B4-BE49-F238E27FC236}">
                  <a16:creationId xmlns:a16="http://schemas.microsoft.com/office/drawing/2014/main" id="{C0C3CF97-D8C5-4D88-B17B-427688FCA7BE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435" y="2702"/>
              <a:ext cx="323" cy="299"/>
            </a:xfrm>
            <a:custGeom>
              <a:avLst/>
              <a:gdLst>
                <a:gd name="T0" fmla="*/ 323 w 323"/>
                <a:gd name="T1" fmla="*/ 299 h 299"/>
                <a:gd name="T2" fmla="*/ 323 w 323"/>
                <a:gd name="T3" fmla="*/ 263 h 299"/>
                <a:gd name="T4" fmla="*/ 18 w 323"/>
                <a:gd name="T5" fmla="*/ 0 h 299"/>
                <a:gd name="T6" fmla="*/ 0 w 323"/>
                <a:gd name="T7" fmla="*/ 23 h 299"/>
                <a:gd name="T8" fmla="*/ 323 w 323"/>
                <a:gd name="T9" fmla="*/ 299 h 299"/>
                <a:gd name="T10" fmla="*/ 323 w 323"/>
                <a:gd name="T11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3" h="299">
                  <a:moveTo>
                    <a:pt x="323" y="299"/>
                  </a:moveTo>
                  <a:lnTo>
                    <a:pt x="323" y="263"/>
                  </a:lnTo>
                  <a:lnTo>
                    <a:pt x="18" y="0"/>
                  </a:lnTo>
                  <a:lnTo>
                    <a:pt x="0" y="23"/>
                  </a:lnTo>
                  <a:lnTo>
                    <a:pt x="323" y="299"/>
                  </a:lnTo>
                  <a:lnTo>
                    <a:pt x="323" y="299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4118"/>
                    <a:invGamma/>
                  </a:schemeClr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6648" name="Freeform 19">
              <a:extLst>
                <a:ext uri="{FF2B5EF4-FFF2-40B4-BE49-F238E27FC236}">
                  <a16:creationId xmlns:a16="http://schemas.microsoft.com/office/drawing/2014/main" id="{5DF7C7C4-FD45-458A-8F49-3A2D9DF7262F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477" y="2588"/>
              <a:ext cx="281" cy="335"/>
            </a:xfrm>
            <a:custGeom>
              <a:avLst/>
              <a:gdLst>
                <a:gd name="T0" fmla="*/ 281 w 281"/>
                <a:gd name="T1" fmla="*/ 335 h 335"/>
                <a:gd name="T2" fmla="*/ 281 w 281"/>
                <a:gd name="T3" fmla="*/ 173 h 335"/>
                <a:gd name="T4" fmla="*/ 96 w 281"/>
                <a:gd name="T5" fmla="*/ 0 h 335"/>
                <a:gd name="T6" fmla="*/ 0 w 281"/>
                <a:gd name="T7" fmla="*/ 90 h 335"/>
                <a:gd name="T8" fmla="*/ 281 w 281"/>
                <a:gd name="T9" fmla="*/ 335 h 335"/>
                <a:gd name="T10" fmla="*/ 281 w 281"/>
                <a:gd name="T11" fmla="*/ 335 h 3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81" h="335">
                  <a:moveTo>
                    <a:pt x="281" y="335"/>
                  </a:moveTo>
                  <a:lnTo>
                    <a:pt x="281" y="173"/>
                  </a:lnTo>
                  <a:lnTo>
                    <a:pt x="96" y="0"/>
                  </a:lnTo>
                  <a:lnTo>
                    <a:pt x="0" y="90"/>
                  </a:lnTo>
                  <a:lnTo>
                    <a:pt x="281" y="33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71380" name="Freeform 20">
              <a:extLst>
                <a:ext uri="{FF2B5EF4-FFF2-40B4-BE49-F238E27FC236}">
                  <a16:creationId xmlns:a16="http://schemas.microsoft.com/office/drawing/2014/main" id="{97FC0FD5-BE3C-4A01-9252-9C7A88FDD43C}"/>
                </a:ext>
              </a:extLst>
            </p:cNvPr>
            <p:cNvSpPr>
              <a:spLocks/>
            </p:cNvSpPr>
            <p:nvPr/>
          </p:nvSpPr>
          <p:spPr bwMode="hidden">
            <a:xfrm>
              <a:off x="2454" y="0"/>
              <a:ext cx="3119" cy="2678"/>
            </a:xfrm>
            <a:custGeom>
              <a:avLst/>
              <a:gdLst>
                <a:gd name="T0" fmla="*/ 0 w 3122"/>
                <a:gd name="T1" fmla="*/ 0 h 2680"/>
                <a:gd name="T2" fmla="*/ 3026 w 3122"/>
                <a:gd name="T3" fmla="*/ 2680 h 2680"/>
                <a:gd name="T4" fmla="*/ 3122 w 3122"/>
                <a:gd name="T5" fmla="*/ 2590 h 2680"/>
                <a:gd name="T6" fmla="*/ 383 w 3122"/>
                <a:gd name="T7" fmla="*/ 0 h 2680"/>
                <a:gd name="T8" fmla="*/ 0 w 3122"/>
                <a:gd name="T9" fmla="*/ 0 h 2680"/>
                <a:gd name="T10" fmla="*/ 0 w 3122"/>
                <a:gd name="T11" fmla="*/ 0 h 2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22" h="2680">
                  <a:moveTo>
                    <a:pt x="0" y="0"/>
                  </a:moveTo>
                  <a:lnTo>
                    <a:pt x="3026" y="2680"/>
                  </a:lnTo>
                  <a:lnTo>
                    <a:pt x="3122" y="2590"/>
                  </a:lnTo>
                  <a:lnTo>
                    <a:pt x="38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6650" name="Freeform 21">
              <a:extLst>
                <a:ext uri="{FF2B5EF4-FFF2-40B4-BE49-F238E27FC236}">
                  <a16:creationId xmlns:a16="http://schemas.microsoft.com/office/drawing/2014/main" id="{DC3C9582-91D1-418B-AE22-AFEE484A1641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626" y="2534"/>
              <a:ext cx="132" cy="132"/>
            </a:xfrm>
            <a:custGeom>
              <a:avLst/>
              <a:gdLst>
                <a:gd name="T0" fmla="*/ 132 w 132"/>
                <a:gd name="T1" fmla="*/ 132 h 132"/>
                <a:gd name="T2" fmla="*/ 0 w 132"/>
                <a:gd name="T3" fmla="*/ 0 h 132"/>
                <a:gd name="T4" fmla="*/ 0 w 132"/>
                <a:gd name="T5" fmla="*/ 0 h 132"/>
                <a:gd name="T6" fmla="*/ 132 w 132"/>
                <a:gd name="T7" fmla="*/ 132 h 132"/>
                <a:gd name="T8" fmla="*/ 132 w 132"/>
                <a:gd name="T9" fmla="*/ 132 h 1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2" h="132">
                  <a:moveTo>
                    <a:pt x="132" y="132"/>
                  </a:moveTo>
                  <a:lnTo>
                    <a:pt x="0" y="0"/>
                  </a:lnTo>
                  <a:lnTo>
                    <a:pt x="132" y="132"/>
                  </a:lnTo>
                  <a:close/>
                </a:path>
              </a:pathLst>
            </a:custGeom>
            <a:solidFill>
              <a:srgbClr val="FF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71382" name="Freeform 22">
              <a:extLst>
                <a:ext uri="{FF2B5EF4-FFF2-40B4-BE49-F238E27FC236}">
                  <a16:creationId xmlns:a16="http://schemas.microsoft.com/office/drawing/2014/main" id="{11D11ED3-AE0A-4575-89E9-F5D0287C9768}"/>
                </a:ext>
              </a:extLst>
            </p:cNvPr>
            <p:cNvSpPr>
              <a:spLocks/>
            </p:cNvSpPr>
            <p:nvPr/>
          </p:nvSpPr>
          <p:spPr bwMode="hidden">
            <a:xfrm>
              <a:off x="3112" y="0"/>
              <a:ext cx="2514" cy="2534"/>
            </a:xfrm>
            <a:custGeom>
              <a:avLst/>
              <a:gdLst>
                <a:gd name="T0" fmla="*/ 0 w 2517"/>
                <a:gd name="T1" fmla="*/ 0 h 2536"/>
                <a:gd name="T2" fmla="*/ 2517 w 2517"/>
                <a:gd name="T3" fmla="*/ 2536 h 2536"/>
                <a:gd name="T4" fmla="*/ 2517 w 2517"/>
                <a:gd name="T5" fmla="*/ 2536 h 2536"/>
                <a:gd name="T6" fmla="*/ 66 w 2517"/>
                <a:gd name="T7" fmla="*/ 0 h 2536"/>
                <a:gd name="T8" fmla="*/ 0 w 2517"/>
                <a:gd name="T9" fmla="*/ 0 h 2536"/>
                <a:gd name="T10" fmla="*/ 0 w 2517"/>
                <a:gd name="T11" fmla="*/ 0 h 2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17" h="2536">
                  <a:moveTo>
                    <a:pt x="0" y="0"/>
                  </a:moveTo>
                  <a:lnTo>
                    <a:pt x="2517" y="2536"/>
                  </a:lnTo>
                  <a:lnTo>
                    <a:pt x="2517" y="2536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1373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83" name="Freeform 23">
              <a:extLst>
                <a:ext uri="{FF2B5EF4-FFF2-40B4-BE49-F238E27FC236}">
                  <a16:creationId xmlns:a16="http://schemas.microsoft.com/office/drawing/2014/main" id="{84D2EBDA-703F-4666-BE7B-E3111286D503}"/>
                </a:ext>
              </a:extLst>
            </p:cNvPr>
            <p:cNvSpPr>
              <a:spLocks/>
            </p:cNvSpPr>
            <p:nvPr/>
          </p:nvSpPr>
          <p:spPr bwMode="hidden">
            <a:xfrm>
              <a:off x="3488" y="0"/>
              <a:ext cx="2198" cy="2480"/>
            </a:xfrm>
            <a:custGeom>
              <a:avLst/>
              <a:gdLst>
                <a:gd name="T0" fmla="*/ 0 w 2200"/>
                <a:gd name="T1" fmla="*/ 0 h 2482"/>
                <a:gd name="T2" fmla="*/ 2188 w 2200"/>
                <a:gd name="T3" fmla="*/ 2482 h 2482"/>
                <a:gd name="T4" fmla="*/ 2200 w 2200"/>
                <a:gd name="T5" fmla="*/ 2476 h 2482"/>
                <a:gd name="T6" fmla="*/ 317 w 2200"/>
                <a:gd name="T7" fmla="*/ 0 h 2482"/>
                <a:gd name="T8" fmla="*/ 0 w 2200"/>
                <a:gd name="T9" fmla="*/ 0 h 2482"/>
                <a:gd name="T10" fmla="*/ 0 w 2200"/>
                <a:gd name="T11" fmla="*/ 0 h 2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00" h="2482">
                  <a:moveTo>
                    <a:pt x="0" y="0"/>
                  </a:moveTo>
                  <a:lnTo>
                    <a:pt x="2188" y="2482"/>
                  </a:lnTo>
                  <a:lnTo>
                    <a:pt x="2200" y="2476"/>
                  </a:lnTo>
                  <a:lnTo>
                    <a:pt x="31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>
              <a:noFill/>
            </a:ln>
            <a:effectLst/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84" name="Freeform 24">
              <a:extLst>
                <a:ext uri="{FF2B5EF4-FFF2-40B4-BE49-F238E27FC236}">
                  <a16:creationId xmlns:a16="http://schemas.microsoft.com/office/drawing/2014/main" id="{152BE100-9CD7-4AC4-8501-AC821BA48C76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674" y="2474"/>
              <a:ext cx="84" cy="96"/>
            </a:xfrm>
            <a:custGeom>
              <a:avLst/>
              <a:gdLst>
                <a:gd name="T0" fmla="*/ 84 w 84"/>
                <a:gd name="T1" fmla="*/ 96 h 96"/>
                <a:gd name="T2" fmla="*/ 84 w 84"/>
                <a:gd name="T3" fmla="*/ 90 h 96"/>
                <a:gd name="T4" fmla="*/ 12 w 84"/>
                <a:gd name="T5" fmla="*/ 0 h 96"/>
                <a:gd name="T6" fmla="*/ 0 w 84"/>
                <a:gd name="T7" fmla="*/ 6 h 96"/>
                <a:gd name="T8" fmla="*/ 84 w 84"/>
                <a:gd name="T9" fmla="*/ 96 h 96"/>
                <a:gd name="T10" fmla="*/ 84 w 84"/>
                <a:gd name="T11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4" h="96">
                  <a:moveTo>
                    <a:pt x="84" y="96"/>
                  </a:moveTo>
                  <a:lnTo>
                    <a:pt x="84" y="90"/>
                  </a:lnTo>
                  <a:lnTo>
                    <a:pt x="12" y="0"/>
                  </a:lnTo>
                  <a:lnTo>
                    <a:pt x="0" y="6"/>
                  </a:lnTo>
                  <a:lnTo>
                    <a:pt x="84" y="96"/>
                  </a:lnTo>
                  <a:lnTo>
                    <a:pt x="84" y="96"/>
                  </a:lnTo>
                  <a:close/>
                </a:path>
              </a:pathLst>
            </a:custGeom>
            <a:gradFill rotWithShape="0">
              <a:gsLst>
                <a:gs pos="0">
                  <a:schemeClr val="bg1"/>
                </a:gs>
                <a:gs pos="100000">
                  <a:schemeClr val="bg1">
                    <a:gamma/>
                    <a:tint val="90980"/>
                    <a:invGamma/>
                  </a:schemeClr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6654" name="Freeform 25">
              <a:extLst>
                <a:ext uri="{FF2B5EF4-FFF2-40B4-BE49-F238E27FC236}">
                  <a16:creationId xmlns:a16="http://schemas.microsoft.com/office/drawing/2014/main" id="{7D230C39-3595-4DC6-90EC-4B31D2BC1FC7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603" y="850"/>
              <a:ext cx="155" cy="516"/>
            </a:xfrm>
            <a:custGeom>
              <a:avLst/>
              <a:gdLst>
                <a:gd name="T0" fmla="*/ 155 w 155"/>
                <a:gd name="T1" fmla="*/ 516 h 516"/>
                <a:gd name="T2" fmla="*/ 155 w 155"/>
                <a:gd name="T3" fmla="*/ 204 h 516"/>
                <a:gd name="T4" fmla="*/ 77 w 155"/>
                <a:gd name="T5" fmla="*/ 0 h 516"/>
                <a:gd name="T6" fmla="*/ 0 w 155"/>
                <a:gd name="T7" fmla="*/ 192 h 516"/>
                <a:gd name="T8" fmla="*/ 155 w 155"/>
                <a:gd name="T9" fmla="*/ 516 h 516"/>
                <a:gd name="T10" fmla="*/ 155 w 155"/>
                <a:gd name="T11" fmla="*/ 516 h 5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55" h="516">
                  <a:moveTo>
                    <a:pt x="155" y="516"/>
                  </a:moveTo>
                  <a:lnTo>
                    <a:pt x="155" y="204"/>
                  </a:lnTo>
                  <a:lnTo>
                    <a:pt x="77" y="0"/>
                  </a:lnTo>
                  <a:lnTo>
                    <a:pt x="0" y="192"/>
                  </a:lnTo>
                  <a:lnTo>
                    <a:pt x="155" y="51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71386" name="Freeform 26">
              <a:extLst>
                <a:ext uri="{FF2B5EF4-FFF2-40B4-BE49-F238E27FC236}">
                  <a16:creationId xmlns:a16="http://schemas.microsoft.com/office/drawing/2014/main" id="{F472BDCA-0BA2-4E1F-B3AC-1B0751D3A9B7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107" y="0"/>
              <a:ext cx="573" cy="1042"/>
            </a:xfrm>
            <a:custGeom>
              <a:avLst/>
              <a:gdLst>
                <a:gd name="T0" fmla="*/ 0 w 574"/>
                <a:gd name="T1" fmla="*/ 0 h 1043"/>
                <a:gd name="T2" fmla="*/ 497 w 574"/>
                <a:gd name="T3" fmla="*/ 1043 h 1043"/>
                <a:gd name="T4" fmla="*/ 574 w 574"/>
                <a:gd name="T5" fmla="*/ 851 h 1043"/>
                <a:gd name="T6" fmla="*/ 251 w 574"/>
                <a:gd name="T7" fmla="*/ 0 h 1043"/>
                <a:gd name="T8" fmla="*/ 0 w 574"/>
                <a:gd name="T9" fmla="*/ 0 h 1043"/>
                <a:gd name="T10" fmla="*/ 0 w 574"/>
                <a:gd name="T11" fmla="*/ 0 h 10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4" h="1043">
                  <a:moveTo>
                    <a:pt x="0" y="0"/>
                  </a:moveTo>
                  <a:lnTo>
                    <a:pt x="497" y="1043"/>
                  </a:lnTo>
                  <a:lnTo>
                    <a:pt x="574" y="851"/>
                  </a:lnTo>
                  <a:lnTo>
                    <a:pt x="25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6667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87" name="Freeform 27">
              <a:extLst>
                <a:ext uri="{FF2B5EF4-FFF2-40B4-BE49-F238E27FC236}">
                  <a16:creationId xmlns:a16="http://schemas.microsoft.com/office/drawing/2014/main" id="{6D107D36-6378-4CA6-A71E-1D3D23C0CF85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411" y="0"/>
              <a:ext cx="341" cy="796"/>
            </a:xfrm>
            <a:custGeom>
              <a:avLst/>
              <a:gdLst>
                <a:gd name="T0" fmla="*/ 144 w 341"/>
                <a:gd name="T1" fmla="*/ 0 h 797"/>
                <a:gd name="T2" fmla="*/ 0 w 341"/>
                <a:gd name="T3" fmla="*/ 0 h 797"/>
                <a:gd name="T4" fmla="*/ 287 w 341"/>
                <a:gd name="T5" fmla="*/ 797 h 797"/>
                <a:gd name="T6" fmla="*/ 341 w 341"/>
                <a:gd name="T7" fmla="*/ 653 h 797"/>
                <a:gd name="T8" fmla="*/ 144 w 341"/>
                <a:gd name="T9" fmla="*/ 0 h 797"/>
                <a:gd name="T10" fmla="*/ 144 w 341"/>
                <a:gd name="T11" fmla="*/ 0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1" h="797">
                  <a:moveTo>
                    <a:pt x="144" y="0"/>
                  </a:moveTo>
                  <a:lnTo>
                    <a:pt x="0" y="0"/>
                  </a:lnTo>
                  <a:lnTo>
                    <a:pt x="287" y="797"/>
                  </a:lnTo>
                  <a:lnTo>
                    <a:pt x="341" y="653"/>
                  </a:lnTo>
                  <a:lnTo>
                    <a:pt x="144" y="0"/>
                  </a:lnTo>
                  <a:lnTo>
                    <a:pt x="144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6980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6657" name="Freeform 28">
              <a:extLst>
                <a:ext uri="{FF2B5EF4-FFF2-40B4-BE49-F238E27FC236}">
                  <a16:creationId xmlns:a16="http://schemas.microsoft.com/office/drawing/2014/main" id="{ED24C18B-B1EF-48C5-8520-25E5F39BD7F9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698" y="653"/>
              <a:ext cx="60" cy="311"/>
            </a:xfrm>
            <a:custGeom>
              <a:avLst/>
              <a:gdLst>
                <a:gd name="T0" fmla="*/ 0 w 60"/>
                <a:gd name="T1" fmla="*/ 144 h 312"/>
                <a:gd name="T2" fmla="*/ 60 w 60"/>
                <a:gd name="T3" fmla="*/ 299 h 312"/>
                <a:gd name="T4" fmla="*/ 60 w 60"/>
                <a:gd name="T5" fmla="*/ 6 h 312"/>
                <a:gd name="T6" fmla="*/ 54 w 60"/>
                <a:gd name="T7" fmla="*/ 0 h 312"/>
                <a:gd name="T8" fmla="*/ 0 w 60"/>
                <a:gd name="T9" fmla="*/ 144 h 312"/>
                <a:gd name="T10" fmla="*/ 0 w 60"/>
                <a:gd name="T11" fmla="*/ 144 h 3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0" h="312">
                  <a:moveTo>
                    <a:pt x="0" y="144"/>
                  </a:moveTo>
                  <a:lnTo>
                    <a:pt x="60" y="312"/>
                  </a:lnTo>
                  <a:lnTo>
                    <a:pt x="60" y="6"/>
                  </a:lnTo>
                  <a:lnTo>
                    <a:pt x="54" y="0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71389" name="Freeform 29">
              <a:extLst>
                <a:ext uri="{FF2B5EF4-FFF2-40B4-BE49-F238E27FC236}">
                  <a16:creationId xmlns:a16="http://schemas.microsoft.com/office/drawing/2014/main" id="{B4F14424-C9E4-4AE6-9173-9E76351CF3D6}"/>
                </a:ext>
              </a:extLst>
            </p:cNvPr>
            <p:cNvSpPr>
              <a:spLocks/>
            </p:cNvSpPr>
            <p:nvPr/>
          </p:nvSpPr>
          <p:spPr bwMode="hidden">
            <a:xfrm>
              <a:off x="2" y="1601"/>
              <a:ext cx="5752" cy="1864"/>
            </a:xfrm>
            <a:custGeom>
              <a:avLst/>
              <a:gdLst>
                <a:gd name="T0" fmla="*/ 0 w 5740"/>
                <a:gd name="T1" fmla="*/ 371 h 1864"/>
                <a:gd name="T2" fmla="*/ 5740 w 5740"/>
                <a:gd name="T3" fmla="*/ 1864 h 1864"/>
                <a:gd name="T4" fmla="*/ 5740 w 5740"/>
                <a:gd name="T5" fmla="*/ 1834 h 1864"/>
                <a:gd name="T6" fmla="*/ 0 w 5740"/>
                <a:gd name="T7" fmla="*/ 0 h 1864"/>
                <a:gd name="T8" fmla="*/ 0 w 5740"/>
                <a:gd name="T9" fmla="*/ 371 h 1864"/>
                <a:gd name="T10" fmla="*/ 0 w 5740"/>
                <a:gd name="T11" fmla="*/ 371 h 18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40" h="1864">
                  <a:moveTo>
                    <a:pt x="0" y="371"/>
                  </a:moveTo>
                  <a:lnTo>
                    <a:pt x="5740" y="1864"/>
                  </a:lnTo>
                  <a:lnTo>
                    <a:pt x="5740" y="1834"/>
                  </a:lnTo>
                  <a:lnTo>
                    <a:pt x="0" y="0"/>
                  </a:lnTo>
                  <a:lnTo>
                    <a:pt x="0" y="371"/>
                  </a:lnTo>
                  <a:lnTo>
                    <a:pt x="0" y="371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352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6659" name="Freeform 30">
              <a:extLst>
                <a:ext uri="{FF2B5EF4-FFF2-40B4-BE49-F238E27FC236}">
                  <a16:creationId xmlns:a16="http://schemas.microsoft.com/office/drawing/2014/main" id="{FC93AFE1-AE1C-44A4-A14A-535183343618}"/>
                </a:ext>
              </a:extLst>
            </p:cNvPr>
            <p:cNvSpPr>
              <a:spLocks/>
            </p:cNvSpPr>
            <p:nvPr/>
          </p:nvSpPr>
          <p:spPr bwMode="hidden">
            <a:xfrm>
              <a:off x="5754" y="3483"/>
              <a:ext cx="6" cy="6"/>
            </a:xfrm>
            <a:custGeom>
              <a:avLst/>
              <a:gdLst>
                <a:gd name="T0" fmla="*/ 6 w 6"/>
                <a:gd name="T1" fmla="*/ 6 h 6"/>
                <a:gd name="T2" fmla="*/ 0 w 6"/>
                <a:gd name="T3" fmla="*/ 0 h 6"/>
                <a:gd name="T4" fmla="*/ 0 w 6"/>
                <a:gd name="T5" fmla="*/ 6 h 6"/>
                <a:gd name="T6" fmla="*/ 6 w 6"/>
                <a:gd name="T7" fmla="*/ 6 h 6"/>
                <a:gd name="T8" fmla="*/ 6 w 6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6">
                  <a:moveTo>
                    <a:pt x="6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18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/>
            </a:p>
          </p:txBody>
        </p:sp>
        <p:sp>
          <p:nvSpPr>
            <p:cNvPr id="271391" name="Freeform 31">
              <a:extLst>
                <a:ext uri="{FF2B5EF4-FFF2-40B4-BE49-F238E27FC236}">
                  <a16:creationId xmlns:a16="http://schemas.microsoft.com/office/drawing/2014/main" id="{E3B3C6B9-E871-4BF1-940F-6C35FD5C50EE}"/>
                </a:ext>
              </a:extLst>
            </p:cNvPr>
            <p:cNvSpPr>
              <a:spLocks/>
            </p:cNvSpPr>
            <p:nvPr/>
          </p:nvSpPr>
          <p:spPr bwMode="hidden">
            <a:xfrm>
              <a:off x="2" y="2152"/>
              <a:ext cx="5752" cy="1337"/>
            </a:xfrm>
            <a:custGeom>
              <a:avLst/>
              <a:gdLst>
                <a:gd name="T0" fmla="*/ 0 w 5740"/>
                <a:gd name="T1" fmla="*/ 366 h 1337"/>
                <a:gd name="T2" fmla="*/ 5740 w 5740"/>
                <a:gd name="T3" fmla="*/ 1337 h 1337"/>
                <a:gd name="T4" fmla="*/ 5740 w 5740"/>
                <a:gd name="T5" fmla="*/ 1331 h 1337"/>
                <a:gd name="T6" fmla="*/ 0 w 5740"/>
                <a:gd name="T7" fmla="*/ 0 h 1337"/>
                <a:gd name="T8" fmla="*/ 0 w 5740"/>
                <a:gd name="T9" fmla="*/ 366 h 1337"/>
                <a:gd name="T10" fmla="*/ 0 w 5740"/>
                <a:gd name="T11" fmla="*/ 366 h 1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40" h="1337">
                  <a:moveTo>
                    <a:pt x="0" y="366"/>
                  </a:moveTo>
                  <a:lnTo>
                    <a:pt x="5740" y="1337"/>
                  </a:lnTo>
                  <a:lnTo>
                    <a:pt x="5740" y="1331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0" y="366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6078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92" name="Freeform 32">
              <a:extLst>
                <a:ext uri="{FF2B5EF4-FFF2-40B4-BE49-F238E27FC236}">
                  <a16:creationId xmlns:a16="http://schemas.microsoft.com/office/drawing/2014/main" id="{D71E8C74-7198-415D-AAF9-614AD6D2E01C}"/>
                </a:ext>
              </a:extLst>
            </p:cNvPr>
            <p:cNvSpPr>
              <a:spLocks/>
            </p:cNvSpPr>
            <p:nvPr/>
          </p:nvSpPr>
          <p:spPr bwMode="hidden">
            <a:xfrm>
              <a:off x="2" y="3177"/>
              <a:ext cx="5752" cy="414"/>
            </a:xfrm>
            <a:custGeom>
              <a:avLst/>
              <a:gdLst>
                <a:gd name="T0" fmla="*/ 0 w 5740"/>
                <a:gd name="T1" fmla="*/ 48 h 414"/>
                <a:gd name="T2" fmla="*/ 5740 w 5740"/>
                <a:gd name="T3" fmla="*/ 414 h 414"/>
                <a:gd name="T4" fmla="*/ 5740 w 5740"/>
                <a:gd name="T5" fmla="*/ 402 h 414"/>
                <a:gd name="T6" fmla="*/ 0 w 5740"/>
                <a:gd name="T7" fmla="*/ 0 h 414"/>
                <a:gd name="T8" fmla="*/ 0 w 5740"/>
                <a:gd name="T9" fmla="*/ 48 h 414"/>
                <a:gd name="T10" fmla="*/ 0 w 5740"/>
                <a:gd name="T11" fmla="*/ 48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40" h="414">
                  <a:moveTo>
                    <a:pt x="0" y="48"/>
                  </a:moveTo>
                  <a:lnTo>
                    <a:pt x="5740" y="414"/>
                  </a:lnTo>
                  <a:lnTo>
                    <a:pt x="5740" y="402"/>
                  </a:lnTo>
                  <a:lnTo>
                    <a:pt x="0" y="0"/>
                  </a:lnTo>
                  <a:lnTo>
                    <a:pt x="0" y="48"/>
                  </a:lnTo>
                  <a:lnTo>
                    <a:pt x="0" y="48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93" name="Freeform 33">
              <a:extLst>
                <a:ext uri="{FF2B5EF4-FFF2-40B4-BE49-F238E27FC236}">
                  <a16:creationId xmlns:a16="http://schemas.microsoft.com/office/drawing/2014/main" id="{9D4077C5-6E41-40CC-9896-9BB87CE8EAA0}"/>
                </a:ext>
              </a:extLst>
            </p:cNvPr>
            <p:cNvSpPr>
              <a:spLocks/>
            </p:cNvSpPr>
            <p:nvPr/>
          </p:nvSpPr>
          <p:spPr bwMode="hidden">
            <a:xfrm>
              <a:off x="1297" y="0"/>
              <a:ext cx="4457" cy="3177"/>
            </a:xfrm>
            <a:custGeom>
              <a:avLst/>
              <a:gdLst>
                <a:gd name="T0" fmla="*/ 0 w 4448"/>
                <a:gd name="T1" fmla="*/ 0 h 3177"/>
                <a:gd name="T2" fmla="*/ 4448 w 4448"/>
                <a:gd name="T3" fmla="*/ 3177 h 3177"/>
                <a:gd name="T4" fmla="*/ 4448 w 4448"/>
                <a:gd name="T5" fmla="*/ 3153 h 3177"/>
                <a:gd name="T6" fmla="*/ 125 w 4448"/>
                <a:gd name="T7" fmla="*/ 0 h 3177"/>
                <a:gd name="T8" fmla="*/ 0 w 4448"/>
                <a:gd name="T9" fmla="*/ 0 h 3177"/>
                <a:gd name="T10" fmla="*/ 0 w 4448"/>
                <a:gd name="T11" fmla="*/ 0 h 3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48" h="3177">
                  <a:moveTo>
                    <a:pt x="0" y="0"/>
                  </a:moveTo>
                  <a:lnTo>
                    <a:pt x="4448" y="3177"/>
                  </a:lnTo>
                  <a:lnTo>
                    <a:pt x="4448" y="3153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4862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94" name="Freeform 34">
              <a:extLst>
                <a:ext uri="{FF2B5EF4-FFF2-40B4-BE49-F238E27FC236}">
                  <a16:creationId xmlns:a16="http://schemas.microsoft.com/office/drawing/2014/main" id="{469E7464-F433-4130-95C8-84C2896FEB23}"/>
                </a:ext>
              </a:extLst>
            </p:cNvPr>
            <p:cNvSpPr>
              <a:spLocks/>
            </p:cNvSpPr>
            <p:nvPr/>
          </p:nvSpPr>
          <p:spPr bwMode="hidden">
            <a:xfrm>
              <a:off x="3321" y="0"/>
              <a:ext cx="2433" cy="2614"/>
            </a:xfrm>
            <a:custGeom>
              <a:avLst/>
              <a:gdLst>
                <a:gd name="T0" fmla="*/ 0 w 2428"/>
                <a:gd name="T1" fmla="*/ 0 h 2614"/>
                <a:gd name="T2" fmla="*/ 2428 w 2428"/>
                <a:gd name="T3" fmla="*/ 2614 h 2614"/>
                <a:gd name="T4" fmla="*/ 2428 w 2428"/>
                <a:gd name="T5" fmla="*/ 2608 h 2614"/>
                <a:gd name="T6" fmla="*/ 66 w 2428"/>
                <a:gd name="T7" fmla="*/ 0 h 2614"/>
                <a:gd name="T8" fmla="*/ 0 w 2428"/>
                <a:gd name="T9" fmla="*/ 0 h 2614"/>
                <a:gd name="T10" fmla="*/ 0 w 2428"/>
                <a:gd name="T11" fmla="*/ 0 h 2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28" h="2614">
                  <a:moveTo>
                    <a:pt x="0" y="0"/>
                  </a:moveTo>
                  <a:lnTo>
                    <a:pt x="2428" y="2614"/>
                  </a:lnTo>
                  <a:lnTo>
                    <a:pt x="2428" y="2608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84706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95" name="Freeform 35">
              <a:extLst>
                <a:ext uri="{FF2B5EF4-FFF2-40B4-BE49-F238E27FC236}">
                  <a16:creationId xmlns:a16="http://schemas.microsoft.com/office/drawing/2014/main" id="{8CA7AE1B-938B-4DD1-A052-E209B3893AA1}"/>
                </a:ext>
              </a:extLst>
            </p:cNvPr>
            <p:cNvSpPr>
              <a:spLocks/>
            </p:cNvSpPr>
            <p:nvPr/>
          </p:nvSpPr>
          <p:spPr bwMode="hidden">
            <a:xfrm>
              <a:off x="3950" y="0"/>
              <a:ext cx="1804" cy="2464"/>
            </a:xfrm>
            <a:custGeom>
              <a:avLst/>
              <a:gdLst>
                <a:gd name="T0" fmla="*/ 485 w 1800"/>
                <a:gd name="T1" fmla="*/ 0 h 2464"/>
                <a:gd name="T2" fmla="*/ 0 w 1800"/>
                <a:gd name="T3" fmla="*/ 0 h 2464"/>
                <a:gd name="T4" fmla="*/ 1800 w 1800"/>
                <a:gd name="T5" fmla="*/ 2464 h 2464"/>
                <a:gd name="T6" fmla="*/ 1800 w 1800"/>
                <a:gd name="T7" fmla="*/ 2248 h 2464"/>
                <a:gd name="T8" fmla="*/ 1794 w 1800"/>
                <a:gd name="T9" fmla="*/ 2248 h 2464"/>
                <a:gd name="T10" fmla="*/ 485 w 1800"/>
                <a:gd name="T11" fmla="*/ 0 h 2464"/>
                <a:gd name="T12" fmla="*/ 485 w 1800"/>
                <a:gd name="T13" fmla="*/ 0 h 2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00" h="2464">
                  <a:moveTo>
                    <a:pt x="485" y="0"/>
                  </a:moveTo>
                  <a:lnTo>
                    <a:pt x="0" y="0"/>
                  </a:lnTo>
                  <a:lnTo>
                    <a:pt x="1800" y="2464"/>
                  </a:lnTo>
                  <a:lnTo>
                    <a:pt x="1800" y="2248"/>
                  </a:lnTo>
                  <a:lnTo>
                    <a:pt x="1794" y="2248"/>
                  </a:lnTo>
                  <a:lnTo>
                    <a:pt x="485" y="0"/>
                  </a:lnTo>
                  <a:lnTo>
                    <a:pt x="485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2">
                    <a:gamma/>
                    <a:shade val="78824"/>
                    <a:invGamma/>
                  </a:schemeClr>
                </a:gs>
                <a:gs pos="100000">
                  <a:schemeClr val="bg2"/>
                </a:gs>
              </a:gsLst>
              <a:lin ang="54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96" name="Freeform 36">
              <a:extLst>
                <a:ext uri="{FF2B5EF4-FFF2-40B4-BE49-F238E27FC236}">
                  <a16:creationId xmlns:a16="http://schemas.microsoft.com/office/drawing/2014/main" id="{52495B27-4D21-4155-A050-F1C111A5B1C8}"/>
                </a:ext>
              </a:extLst>
            </p:cNvPr>
            <p:cNvSpPr>
              <a:spLocks/>
            </p:cNvSpPr>
            <p:nvPr/>
          </p:nvSpPr>
          <p:spPr bwMode="hidden">
            <a:xfrm>
              <a:off x="4519" y="0"/>
              <a:ext cx="1235" cy="2074"/>
            </a:xfrm>
            <a:custGeom>
              <a:avLst/>
              <a:gdLst>
                <a:gd name="T0" fmla="*/ 0 w 1232"/>
                <a:gd name="T1" fmla="*/ 0 h 2074"/>
                <a:gd name="T2" fmla="*/ 1232 w 1232"/>
                <a:gd name="T3" fmla="*/ 2074 h 2074"/>
                <a:gd name="T4" fmla="*/ 1232 w 1232"/>
                <a:gd name="T5" fmla="*/ 2038 h 2074"/>
                <a:gd name="T6" fmla="*/ 42 w 1232"/>
                <a:gd name="T7" fmla="*/ 0 h 2074"/>
                <a:gd name="T8" fmla="*/ 0 w 1232"/>
                <a:gd name="T9" fmla="*/ 0 h 2074"/>
                <a:gd name="T10" fmla="*/ 0 w 1232"/>
                <a:gd name="T11" fmla="*/ 0 h 2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32" h="2074">
                  <a:moveTo>
                    <a:pt x="0" y="0"/>
                  </a:moveTo>
                  <a:lnTo>
                    <a:pt x="1232" y="2074"/>
                  </a:lnTo>
                  <a:lnTo>
                    <a:pt x="1232" y="2038"/>
                  </a:lnTo>
                  <a:lnTo>
                    <a:pt x="42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57647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97" name="Freeform 37">
              <a:extLst>
                <a:ext uri="{FF2B5EF4-FFF2-40B4-BE49-F238E27FC236}">
                  <a16:creationId xmlns:a16="http://schemas.microsoft.com/office/drawing/2014/main" id="{D0187912-2D0C-42A0-8EF4-FC63908CE4B2}"/>
                </a:ext>
              </a:extLst>
            </p:cNvPr>
            <p:cNvSpPr>
              <a:spLocks/>
            </p:cNvSpPr>
            <p:nvPr/>
          </p:nvSpPr>
          <p:spPr bwMode="hidden">
            <a:xfrm>
              <a:off x="4694" y="0"/>
              <a:ext cx="1060" cy="1936"/>
            </a:xfrm>
            <a:custGeom>
              <a:avLst/>
              <a:gdLst>
                <a:gd name="T0" fmla="*/ 0 w 1058"/>
                <a:gd name="T1" fmla="*/ 0 h 1936"/>
                <a:gd name="T2" fmla="*/ 1058 w 1058"/>
                <a:gd name="T3" fmla="*/ 1936 h 1936"/>
                <a:gd name="T4" fmla="*/ 1058 w 1058"/>
                <a:gd name="T5" fmla="*/ 1930 h 1936"/>
                <a:gd name="T6" fmla="*/ 54 w 1058"/>
                <a:gd name="T7" fmla="*/ 0 h 1936"/>
                <a:gd name="T8" fmla="*/ 0 w 1058"/>
                <a:gd name="T9" fmla="*/ 0 h 1936"/>
                <a:gd name="T10" fmla="*/ 0 w 1058"/>
                <a:gd name="T11" fmla="*/ 0 h 19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8" h="1936">
                  <a:moveTo>
                    <a:pt x="0" y="0"/>
                  </a:moveTo>
                  <a:lnTo>
                    <a:pt x="1058" y="1936"/>
                  </a:lnTo>
                  <a:lnTo>
                    <a:pt x="1058" y="1930"/>
                  </a:lnTo>
                  <a:lnTo>
                    <a:pt x="5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2549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sp>
          <p:nvSpPr>
            <p:cNvPr id="271398" name="Freeform 38">
              <a:extLst>
                <a:ext uri="{FF2B5EF4-FFF2-40B4-BE49-F238E27FC236}">
                  <a16:creationId xmlns:a16="http://schemas.microsoft.com/office/drawing/2014/main" id="{FA5F3B15-4572-43D7-AAC4-03270F42E7E3}"/>
                </a:ext>
              </a:extLst>
            </p:cNvPr>
            <p:cNvSpPr>
              <a:spLocks/>
            </p:cNvSpPr>
            <p:nvPr/>
          </p:nvSpPr>
          <p:spPr bwMode="hidden">
            <a:xfrm>
              <a:off x="4981" y="0"/>
              <a:ext cx="773" cy="1487"/>
            </a:xfrm>
            <a:custGeom>
              <a:avLst/>
              <a:gdLst>
                <a:gd name="T0" fmla="*/ 771 w 771"/>
                <a:gd name="T1" fmla="*/ 1433 h 1487"/>
                <a:gd name="T2" fmla="*/ 42 w 771"/>
                <a:gd name="T3" fmla="*/ 0 h 1487"/>
                <a:gd name="T4" fmla="*/ 0 w 771"/>
                <a:gd name="T5" fmla="*/ 0 h 1487"/>
                <a:gd name="T6" fmla="*/ 771 w 771"/>
                <a:gd name="T7" fmla="*/ 1487 h 1487"/>
                <a:gd name="T8" fmla="*/ 771 w 771"/>
                <a:gd name="T9" fmla="*/ 1433 h 1487"/>
                <a:gd name="T10" fmla="*/ 771 w 771"/>
                <a:gd name="T11" fmla="*/ 1433 h 14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71" h="1487">
                  <a:moveTo>
                    <a:pt x="771" y="1433"/>
                  </a:moveTo>
                  <a:lnTo>
                    <a:pt x="42" y="0"/>
                  </a:lnTo>
                  <a:lnTo>
                    <a:pt x="0" y="0"/>
                  </a:lnTo>
                  <a:lnTo>
                    <a:pt x="771" y="1487"/>
                  </a:lnTo>
                  <a:lnTo>
                    <a:pt x="771" y="1433"/>
                  </a:lnTo>
                  <a:lnTo>
                    <a:pt x="771" y="1433"/>
                  </a:lnTo>
                  <a:close/>
                </a:path>
              </a:pathLst>
            </a:custGeom>
            <a:gradFill rotWithShape="0">
              <a:gsLst>
                <a:gs pos="0">
                  <a:schemeClr val="bg1">
                    <a:gamma/>
                    <a:shade val="78824"/>
                    <a:invGamma/>
                  </a:schemeClr>
                </a:gs>
                <a:gs pos="100000">
                  <a:schemeClr val="bg1"/>
                </a:gs>
              </a:gsLst>
              <a:lin ang="2700000" scaled="1"/>
            </a:gradFill>
            <a:ln>
              <a:noFill/>
            </a:ln>
          </p:spPr>
          <p:txBody>
            <a:bodyPr/>
            <a:lstStyle/>
            <a:p>
              <a:pPr eaLnBrk="1" hangingPunct="1">
                <a:defRPr/>
              </a:pPr>
              <a:endParaRPr lang="da-DK" sz="1800">
                <a:solidFill>
                  <a:srgbClr val="FFFFFF"/>
                </a:solidFill>
                <a:ea typeface="ＭＳ Ｐゴシック" pitchFamily="34" charset="-128"/>
              </a:endParaRPr>
            </a:p>
          </p:txBody>
        </p:sp>
        <p:grpSp>
          <p:nvGrpSpPr>
            <p:cNvPr id="26668" name="Group 39">
              <a:extLst>
                <a:ext uri="{FF2B5EF4-FFF2-40B4-BE49-F238E27FC236}">
                  <a16:creationId xmlns:a16="http://schemas.microsoft.com/office/drawing/2014/main" id="{0CEA7ABD-2123-448B-A653-B9A3F40EFA1F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0" y="1632"/>
              <a:ext cx="5758" cy="1858"/>
              <a:chOff x="0" y="1632"/>
              <a:chExt cx="5758" cy="1858"/>
            </a:xfrm>
          </p:grpSpPr>
          <p:sp>
            <p:nvSpPr>
              <p:cNvPr id="271400" name="Freeform 40">
                <a:extLst>
                  <a:ext uri="{FF2B5EF4-FFF2-40B4-BE49-F238E27FC236}">
                    <a16:creationId xmlns:a16="http://schemas.microsoft.com/office/drawing/2014/main" id="{A5291168-9DB5-4255-A335-A3399490648B}"/>
                  </a:ext>
                </a:extLst>
              </p:cNvPr>
              <p:cNvSpPr>
                <a:spLocks/>
              </p:cNvSpPr>
              <p:nvPr/>
            </p:nvSpPr>
            <p:spPr bwMode="hidden">
              <a:xfrm>
                <a:off x="0" y="1632"/>
                <a:ext cx="3670" cy="1313"/>
              </a:xfrm>
              <a:custGeom>
                <a:avLst/>
                <a:gdLst>
                  <a:gd name="T0" fmla="*/ 0 w 3659"/>
                  <a:gd name="T1" fmla="*/ 0 h 1313"/>
                  <a:gd name="T2" fmla="*/ 0 w 3659"/>
                  <a:gd name="T3" fmla="*/ 366 h 1313"/>
                  <a:gd name="T4" fmla="*/ 3635 w 3659"/>
                  <a:gd name="T5" fmla="*/ 1313 h 1313"/>
                  <a:gd name="T6" fmla="*/ 3647 w 3659"/>
                  <a:gd name="T7" fmla="*/ 1235 h 1313"/>
                  <a:gd name="T8" fmla="*/ 3659 w 3659"/>
                  <a:gd name="T9" fmla="*/ 1163 h 1313"/>
                  <a:gd name="T10" fmla="*/ 0 w 3659"/>
                  <a:gd name="T11" fmla="*/ 0 h 1313"/>
                  <a:gd name="T12" fmla="*/ 0 w 3659"/>
                  <a:gd name="T13" fmla="*/ 0 h 1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59" h="1313">
                    <a:moveTo>
                      <a:pt x="0" y="0"/>
                    </a:moveTo>
                    <a:lnTo>
                      <a:pt x="0" y="366"/>
                    </a:lnTo>
                    <a:lnTo>
                      <a:pt x="3635" y="1313"/>
                    </a:lnTo>
                    <a:lnTo>
                      <a:pt x="3647" y="1235"/>
                    </a:lnTo>
                    <a:lnTo>
                      <a:pt x="3659" y="116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>
                      <a:gamma/>
                      <a:shade val="72549"/>
                      <a:invGamma/>
                    </a:schemeClr>
                  </a:gs>
                  <a:gs pos="100000">
                    <a:schemeClr val="bg1"/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271401" name="Freeform 41">
                <a:extLst>
                  <a:ext uri="{FF2B5EF4-FFF2-40B4-BE49-F238E27FC236}">
                    <a16:creationId xmlns:a16="http://schemas.microsoft.com/office/drawing/2014/main" id="{89F9072D-04DC-4DF3-A8A4-94458EABA524}"/>
                  </a:ext>
                </a:extLst>
              </p:cNvPr>
              <p:cNvSpPr>
                <a:spLocks/>
              </p:cNvSpPr>
              <p:nvPr/>
            </p:nvSpPr>
            <p:spPr bwMode="hidden">
              <a:xfrm>
                <a:off x="3646" y="2795"/>
                <a:ext cx="2112" cy="695"/>
              </a:xfrm>
              <a:custGeom>
                <a:avLst/>
                <a:gdLst>
                  <a:gd name="T0" fmla="*/ 2105 w 2105"/>
                  <a:gd name="T1" fmla="*/ 665 h 695"/>
                  <a:gd name="T2" fmla="*/ 24 w 2105"/>
                  <a:gd name="T3" fmla="*/ 0 h 695"/>
                  <a:gd name="T4" fmla="*/ 12 w 2105"/>
                  <a:gd name="T5" fmla="*/ 72 h 695"/>
                  <a:gd name="T6" fmla="*/ 0 w 2105"/>
                  <a:gd name="T7" fmla="*/ 150 h 695"/>
                  <a:gd name="T8" fmla="*/ 2105 w 2105"/>
                  <a:gd name="T9" fmla="*/ 695 h 695"/>
                  <a:gd name="T10" fmla="*/ 2105 w 2105"/>
                  <a:gd name="T11" fmla="*/ 665 h 695"/>
                  <a:gd name="T12" fmla="*/ 2105 w 2105"/>
                  <a:gd name="T13" fmla="*/ 665 h 6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05" h="695">
                    <a:moveTo>
                      <a:pt x="2105" y="665"/>
                    </a:moveTo>
                    <a:lnTo>
                      <a:pt x="24" y="0"/>
                    </a:lnTo>
                    <a:lnTo>
                      <a:pt x="12" y="72"/>
                    </a:lnTo>
                    <a:lnTo>
                      <a:pt x="0" y="150"/>
                    </a:lnTo>
                    <a:lnTo>
                      <a:pt x="2105" y="695"/>
                    </a:lnTo>
                    <a:lnTo>
                      <a:pt x="2105" y="665"/>
                    </a:lnTo>
                    <a:lnTo>
                      <a:pt x="2105" y="665"/>
                    </a:lnTo>
                    <a:close/>
                  </a:path>
                </a:pathLst>
              </a:custGeom>
              <a:gradFill rotWithShape="0">
                <a:gsLst>
                  <a:gs pos="0">
                    <a:schemeClr val="bg1"/>
                  </a:gs>
                  <a:gs pos="100000">
                    <a:schemeClr val="bg1">
                      <a:gamma/>
                      <a:tint val="90980"/>
                      <a:invGamma/>
                    </a:scheme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 eaLnBrk="1" hangingPunct="1">
                  <a:defRPr/>
                </a:pPr>
                <a:endParaRPr lang="da-DK" sz="1800">
                  <a:solidFill>
                    <a:srgbClr val="FFFFFF"/>
                  </a:solidFill>
                  <a:ea typeface="ＭＳ Ｐゴシック" pitchFamily="34" charset="-128"/>
                </a:endParaRPr>
              </a:p>
            </p:txBody>
          </p:sp>
        </p:grpSp>
      </p:grpSp>
      <p:sp>
        <p:nvSpPr>
          <p:cNvPr id="271402" name="Rectangle 42">
            <a:extLst>
              <a:ext uri="{FF2B5EF4-FFF2-40B4-BE49-F238E27FC236}">
                <a16:creationId xmlns:a16="http://schemas.microsoft.com/office/drawing/2014/main" id="{05BCAB38-00C7-48C7-8509-A1AFBB8E42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7813"/>
            <a:ext cx="10972800" cy="11430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iteltypografi i masteren</a:t>
            </a:r>
          </a:p>
        </p:txBody>
      </p:sp>
      <p:sp>
        <p:nvSpPr>
          <p:cNvPr id="271403" name="Rectangle 43">
            <a:extLst>
              <a:ext uri="{FF2B5EF4-FFF2-40B4-BE49-F238E27FC236}">
                <a16:creationId xmlns:a16="http://schemas.microsoft.com/office/drawing/2014/main" id="{2D53AD1B-E15E-4CDF-B593-44B664F97DB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307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eksttypografierne i masteren</a:t>
            </a:r>
          </a:p>
          <a:p>
            <a:pPr lvl="1"/>
            <a:r>
              <a:rPr lang="da-DK" altLang="da-DK"/>
              <a:t>Andet niveau</a:t>
            </a:r>
          </a:p>
          <a:p>
            <a:pPr lvl="2"/>
            <a:r>
              <a:rPr lang="da-DK" altLang="da-DK"/>
              <a:t>Tredje niveau</a:t>
            </a:r>
          </a:p>
          <a:p>
            <a:pPr lvl="3"/>
            <a:r>
              <a:rPr lang="da-DK" altLang="da-DK"/>
              <a:t>Fjerde niveau</a:t>
            </a:r>
          </a:p>
          <a:p>
            <a:pPr lvl="4"/>
            <a:r>
              <a:rPr lang="da-DK" altLang="da-DK"/>
              <a:t>Femte niveau</a:t>
            </a:r>
          </a:p>
        </p:txBody>
      </p:sp>
      <p:sp>
        <p:nvSpPr>
          <p:cNvPr id="271404" name="Rectangle 44">
            <a:extLst>
              <a:ext uri="{FF2B5EF4-FFF2-40B4-BE49-F238E27FC236}">
                <a16:creationId xmlns:a16="http://schemas.microsoft.com/office/drawing/2014/main" id="{43824AC1-9B93-4651-A72D-E0EEADF32D14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3638"/>
            <a:ext cx="2844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ＭＳ Ｐゴシック" pitchFamily="34" charset="-128"/>
              </a:defRPr>
            </a:lvl1pPr>
          </a:lstStyle>
          <a:p>
            <a:pPr>
              <a:defRPr/>
            </a:pPr>
            <a:fld id="{CC272735-2AB8-4556-BD78-95ADCD59EF26}" type="datetime1">
              <a:rPr lang="da-DK" altLang="da-DK"/>
              <a:pPr>
                <a:defRPr/>
              </a:pPr>
              <a:t>07-06-2024</a:t>
            </a:fld>
            <a:endParaRPr lang="da-DK" altLang="da-DK"/>
          </a:p>
        </p:txBody>
      </p:sp>
      <p:sp>
        <p:nvSpPr>
          <p:cNvPr id="271405" name="Rectangle 45">
            <a:extLst>
              <a:ext uri="{FF2B5EF4-FFF2-40B4-BE49-F238E27FC236}">
                <a16:creationId xmlns:a16="http://schemas.microsoft.com/office/drawing/2014/main" id="{2F0F6CAE-9E32-4B1F-8B86-EDFA0EFFF4FC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eaLnBrk="1" hangingPunct="1">
              <a:defRPr sz="120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da-DK" altLang="da-DK"/>
          </a:p>
        </p:txBody>
      </p:sp>
      <p:sp>
        <p:nvSpPr>
          <p:cNvPr id="271406" name="Rectangle 46">
            <a:extLst>
              <a:ext uri="{FF2B5EF4-FFF2-40B4-BE49-F238E27FC236}">
                <a16:creationId xmlns:a16="http://schemas.microsoft.com/office/drawing/2014/main" id="{8D030B31-7EC4-4918-A44C-E6B6A001818B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3638"/>
            <a:ext cx="2844800" cy="45720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42A847FA-7F73-4989-A9F4-5DF29C1726AD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411514306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90000"/>
        <a:buFont typeface="Wingdings" panose="05000000000000000000" pitchFamily="2" charset="2"/>
        <a:buBlip>
          <a:blip r:embed="rId13"/>
        </a:buBlip>
        <a:defRPr sz="32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Wingdings" panose="05000000000000000000" pitchFamily="2" charset="2"/>
        <a:buBlip>
          <a:blip r:embed="rId14"/>
        </a:buBlip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anose="05000000000000000000" pitchFamily="2" charset="2"/>
        <a:buBlip>
          <a:blip r:embed="rId15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5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5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5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Wingdings" pitchFamily="2" charset="2"/>
        <a:buBlip>
          <a:blip r:embed="rId15"/>
        </a:buBlip>
        <a:defRPr sz="20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Date Placeholder 3">
            <a:extLst>
              <a:ext uri="{FF2B5EF4-FFF2-40B4-BE49-F238E27FC236}">
                <a16:creationId xmlns:a16="http://schemas.microsoft.com/office/drawing/2014/main" id="{5E13B5E2-6B4A-1145-B6E5-30BF224D6AF3}"/>
              </a:ext>
            </a:extLst>
          </p:cNvPr>
          <p:cNvSpPr txBox="1"/>
          <p:nvPr/>
        </p:nvSpPr>
        <p:spPr bwMode="auto">
          <a:xfrm>
            <a:off x="2540000" y="6400801"/>
            <a:ext cx="28448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endParaRPr lang="en-US" altLang="en-US" sz="1200" kern="1200">
              <a:solidFill>
                <a:srgbClr val="898989"/>
              </a:solidFill>
              <a:cs typeface="Arial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>
          <a:xfrm>
            <a:off x="609600" y="425451"/>
            <a:ext cx="8159749" cy="61277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lIns="0" tIns="0" rIns="0" bIns="0">
            <a:no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6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1600" b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1600" b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1600" b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1600" b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</a:defRPr>
            </a:lvl9pPr>
          </a:lstStyle>
          <a:p>
            <a:pPr lvl="0"/>
            <a:r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81113"/>
            <a:ext cx="10972800" cy="4441825"/>
          </a:xfrm>
          <a:prstGeom prst="rect">
            <a:avLst/>
          </a:prstGeom>
          <a:noFill/>
          <a:ln>
            <a:noFill/>
            <a:miter lim="800000"/>
          </a:ln>
        </p:spPr>
        <p:txBody>
          <a:bodyPr>
            <a:noAutofit/>
          </a:bodyPr>
          <a:lstStyle>
            <a:lvl1pPr marL="342900" indent="-3429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en-US" altLang="en-US"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–"/>
              <a:defRPr kumimoji="0" lang="en-US" altLang="en-US"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en-US" altLang="en-US" sz="12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–"/>
              <a:defRPr kumimoji="0" lang="en-US" altLang="en-US" sz="12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»"/>
              <a:defRPr kumimoji="0" lang="en-US" altLang="en-US" sz="11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t>Click to edit Master text styles</a:t>
            </a:r>
          </a:p>
          <a:p>
            <a:pPr lvl="1"/>
            <a:r>
              <a:t>Second level</a:t>
            </a:r>
          </a:p>
          <a:p>
            <a:pPr lvl="2"/>
            <a:r>
              <a:t>Third level</a:t>
            </a:r>
          </a:p>
          <a:p>
            <a:pPr lvl="3"/>
            <a:r>
              <a:t>Fourth level</a:t>
            </a:r>
          </a:p>
          <a:p>
            <a:pPr lvl="4"/>
            <a:r>
              <a:t>Fifth level</a:t>
            </a:r>
          </a:p>
        </p:txBody>
      </p:sp>
      <p:sp>
        <p:nvSpPr>
          <p:cNvPr id="1029" name="Footer Placeholder 3">
            <a:extLst>
              <a:ext uri="{FF2B5EF4-FFF2-40B4-BE49-F238E27FC236}">
                <a16:creationId xmlns:a16="http://schemas.microsoft.com/office/drawing/2014/main" id="{3A59B449-7601-8440-A788-6D3FCFF97A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5994400"/>
            <a:ext cx="10236200" cy="863600"/>
          </a:xfrm>
          <a:prstGeom prst="rect">
            <a:avLst/>
          </a:prstGeom>
        </p:spPr>
        <p:txBody>
          <a:bodyPr vert="horz" lIns="180000" tIns="0" rIns="180000" bIns="0" rtlCol="0" anchor="ctr"/>
          <a:lstStyle>
            <a:lvl1pPr algn="l" eaLnBrk="1" hangingPunct="1">
              <a:spcAft>
                <a:spcPts val="600"/>
              </a:spcAft>
              <a:defRPr sz="800">
                <a:solidFill>
                  <a:srgbClr val="2A2A2A"/>
                </a:solidFill>
                <a:latin typeface="Arial" panose="020B0604020202020204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altLang="en-US" kern="1200">
              <a:cs typeface="Arial"/>
            </a:endParaRPr>
          </a:p>
        </p:txBody>
      </p:sp>
      <p:cxnSp>
        <p:nvCxnSpPr>
          <p:cNvPr id="1030" name="Straight Connector 8"/>
          <p:cNvCxnSpPr/>
          <p:nvPr/>
        </p:nvCxnSpPr>
        <p:spPr>
          <a:xfrm>
            <a:off x="0" y="5994400"/>
            <a:ext cx="12192000" cy="0"/>
          </a:xfrm>
          <a:prstGeom prst="line">
            <a:avLst/>
          </a:prstGeom>
          <a:noFill/>
          <a:ln w="6350">
            <a:solidFill>
              <a:srgbClr val="CFD5E4"/>
            </a:solidFill>
            <a:miter lim="800000"/>
          </a:ln>
        </p:spPr>
      </p:cxnSp>
    </p:spTree>
    <p:extLst>
      <p:ext uri="{BB962C8B-B14F-4D97-AF65-F5344CB8AC3E}">
        <p14:creationId xmlns:p14="http://schemas.microsoft.com/office/powerpoint/2010/main" val="3727769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</p:sldLayoutIdLst>
  <p:transition/>
  <p:txStyles>
    <p:titleStyle>
      <a:lvl1pPr marL="0" indent="0" algn="l" defTabSz="914400" rtl="0" eaLnBrk="0" fontAlgn="base" hangingPunct="0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600" b="1" i="0" u="none" kern="1200" baseline="0">
          <a:solidFill>
            <a:schemeClr val="tx1"/>
          </a:solidFill>
          <a:effectLst/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anose="020B0604020202020204" pitchFamily="34" charset="0"/>
          <a:ea typeface="ＭＳ Ｐゴシック" pitchFamily="34" charset="-128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anose="020B0604020202020204" pitchFamily="34" charset="0"/>
          <a:ea typeface="ＭＳ Ｐゴシック" pitchFamily="34" charset="-128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anose="020B0604020202020204" pitchFamily="34" charset="0"/>
          <a:ea typeface="ＭＳ Ｐゴシック" pitchFamily="34" charset="-128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anose="020B0604020202020204" pitchFamily="34" charset="0"/>
          <a:ea typeface="ＭＳ Ｐゴシック" pitchFamily="34" charset="-128"/>
          <a:cs typeface="Arial" panose="020B0604020202020204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anose="02020603050405020304" pitchFamily="18" charset="0"/>
          <a:ea typeface="ＭＳ Ｐゴシック" pitchFamily="34" charset="-128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anose="02020603050405020304" pitchFamily="18" charset="0"/>
          <a:ea typeface="ＭＳ Ｐゴシック" pitchFamily="34" charset="-128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anose="02020603050405020304" pitchFamily="18" charset="0"/>
          <a:ea typeface="ＭＳ Ｐゴシック" pitchFamily="34" charset="-128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Times New Roman" panose="02020603050405020304" pitchFamily="18" charset="0"/>
          <a:ea typeface="ＭＳ Ｐゴシック" pitchFamily="34" charset="-128"/>
        </a:defRPr>
      </a:lvl9pPr>
    </p:titleStyle>
    <p:bodyStyle>
      <a:lvl1pPr marL="342900" indent="-342900" algn="l" defTabSz="914400" rtl="0" eaLnBrk="0" fontAlgn="base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16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914400" rtl="0" eaLnBrk="0" fontAlgn="base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Arial" panose="020B0604020202020204" pitchFamily="34" charset="0"/>
        <a:buChar char="–"/>
        <a:defRPr kumimoji="0" sz="14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0" fontAlgn="base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Arial" panose="020B0604020202020204" pitchFamily="34" charset="0"/>
        <a:buChar char="•"/>
        <a:defRPr kumimoji="0" sz="12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0" fontAlgn="base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Arial" panose="020B0604020202020204" pitchFamily="34" charset="0"/>
        <a:buChar char="–"/>
        <a:defRPr kumimoji="0" sz="12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0" fontAlgn="base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Arial" panose="020B0604020202020204" pitchFamily="34" charset="0"/>
        <a:buChar char="»"/>
        <a:defRPr kumimoji="0" sz="11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4572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9144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3716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1828800" indent="0" algn="l" defTabSz="914400" rtl="0" eaLnBrk="1" fontAlgn="base" latinLnBrk="0" hangingPunct="1">
        <a:lnSpc>
          <a:spcPct val="100000"/>
        </a:lnSpc>
        <a:spcBef>
          <a:spcPct val="0"/>
        </a:spcBef>
        <a:spcAft>
          <a:spcPct val="0"/>
        </a:spcAft>
        <a:buClrTx/>
        <a:buSzTx/>
        <a:buFontTx/>
        <a:buNone/>
        <a:defRPr kumimoji="0" sz="1800" b="0" i="0" u="none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AD6B0305-F60B-47B6-A85E-14B3A5ACB0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0503D09-CB3B-40D8-9F9A-5E0F1821CC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FA93F79-EE7A-4584-A1FF-9C5EF78929A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102F4B-09DC-4C61-BAD2-E49A42944D0E}" type="datetime8">
              <a:rPr lang="en-DK" smtClean="0"/>
              <a:t>06/07/2024 09:22</a:t>
            </a:fld>
            <a:endParaRPr lang="en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D3F0BE4-27EE-4B4B-8C11-4B60BBB755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Frederik Husum Mårup - JC d. 8/2</a:t>
            </a:r>
            <a:endParaRPr lang="en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DA86C0DD-6D66-4006-B4F0-69CA40B792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A482A7-395D-448F-97C6-E36F801A358B}" type="slidenum">
              <a:rPr lang="en-DK" smtClean="0"/>
              <a:t>‹nr.›</a:t>
            </a:fld>
            <a:endParaRPr lang="en-DK"/>
          </a:p>
        </p:txBody>
      </p:sp>
    </p:spTree>
    <p:extLst>
      <p:ext uri="{BB962C8B-B14F-4D97-AF65-F5344CB8AC3E}">
        <p14:creationId xmlns:p14="http://schemas.microsoft.com/office/powerpoint/2010/main" val="1490190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92D5E642-1140-48CD-8964-7EDBA15958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B4566E1-BA64-4630-BFB8-AA3999DD39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2CDA64F-4325-4AD4-9AAE-D6BFD4FAF4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1438AD-D1D5-486C-BD2E-A2F7E55E93BD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F91B530-92DF-4441-8F93-A6E353F31F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C2669E03-EF8D-44D2-AEC0-474DE43491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15F7FE-9889-4C1A-96EF-97C893BCEB5D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98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>
            <a:extLst>
              <a:ext uri="{FF2B5EF4-FFF2-40B4-BE49-F238E27FC236}">
                <a16:creationId xmlns:a16="http://schemas.microsoft.com/office/drawing/2014/main" id="{34D19E2C-F71C-4B18-A891-4F6F145AA7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"/>
            <a:ext cx="12192000" cy="188913"/>
          </a:xfrm>
          <a:prstGeom prst="rect">
            <a:avLst/>
          </a:prstGeom>
          <a:solidFill>
            <a:srgbClr val="2A5A70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a-DK" altLang="da-DK" sz="1800"/>
          </a:p>
        </p:txBody>
      </p:sp>
      <p:sp>
        <p:nvSpPr>
          <p:cNvPr id="1027" name="Rectangle 10">
            <a:extLst>
              <a:ext uri="{FF2B5EF4-FFF2-40B4-BE49-F238E27FC236}">
                <a16:creationId xmlns:a16="http://schemas.microsoft.com/office/drawing/2014/main" id="{E1FB0853-F621-44C8-8229-AD2189926E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381750"/>
            <a:ext cx="12192000" cy="476250"/>
          </a:xfrm>
          <a:prstGeom prst="rect">
            <a:avLst/>
          </a:prstGeom>
          <a:solidFill>
            <a:srgbClr val="2A5A70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a-DK" altLang="da-DK" sz="1800"/>
          </a:p>
        </p:txBody>
      </p:sp>
      <p:sp>
        <p:nvSpPr>
          <p:cNvPr id="1028" name="Rectangle 2">
            <a:extLst>
              <a:ext uri="{FF2B5EF4-FFF2-40B4-BE49-F238E27FC236}">
                <a16:creationId xmlns:a16="http://schemas.microsoft.com/office/drawing/2014/main" id="{A647C7BE-BC2B-4024-9B63-744D91D3CDB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4143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iteltypografi i masteren</a:t>
            </a:r>
          </a:p>
        </p:txBody>
      </p:sp>
      <p:sp>
        <p:nvSpPr>
          <p:cNvPr id="1029" name="Rectangle 3">
            <a:extLst>
              <a:ext uri="{FF2B5EF4-FFF2-40B4-BE49-F238E27FC236}">
                <a16:creationId xmlns:a16="http://schemas.microsoft.com/office/drawing/2014/main" id="{46E7E72A-9CFC-478B-A2B4-C84B988D80E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eksttypografierne i masteren</a:t>
            </a:r>
          </a:p>
          <a:p>
            <a:pPr lvl="1"/>
            <a:r>
              <a:rPr lang="da-DK" altLang="da-DK"/>
              <a:t>Andet niveau</a:t>
            </a:r>
          </a:p>
          <a:p>
            <a:pPr lvl="2"/>
            <a:r>
              <a:rPr lang="da-DK" altLang="da-DK"/>
              <a:t>Tredje niveau</a:t>
            </a:r>
          </a:p>
          <a:p>
            <a:pPr lvl="3"/>
            <a:r>
              <a:rPr lang="da-DK" altLang="da-DK"/>
              <a:t>Fjerde niveau</a:t>
            </a:r>
          </a:p>
          <a:p>
            <a:pPr lvl="4"/>
            <a:r>
              <a:rPr lang="da-DK" altLang="da-DK"/>
              <a:t>Femte niveau</a:t>
            </a:r>
          </a:p>
        </p:txBody>
      </p:sp>
      <p:sp>
        <p:nvSpPr>
          <p:cNvPr id="1030" name="Rectangle 9">
            <a:extLst>
              <a:ext uri="{FF2B5EF4-FFF2-40B4-BE49-F238E27FC236}">
                <a16:creationId xmlns:a16="http://schemas.microsoft.com/office/drawing/2014/main" id="{631D6A98-6ABD-4E0E-9614-2E27C8096E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3" y="6423026"/>
            <a:ext cx="4895851" cy="24606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da-DK" altLang="da-DK" sz="1000" b="1">
                <a:solidFill>
                  <a:schemeClr val="bg1"/>
                </a:solidFill>
                <a:latin typeface="Verdana" pitchFamily="34" charset="0"/>
              </a:rPr>
              <a:t>Aarhus University Hospital, Skejby</a:t>
            </a:r>
          </a:p>
        </p:txBody>
      </p:sp>
    </p:spTree>
    <p:extLst>
      <p:ext uri="{BB962C8B-B14F-4D97-AF65-F5344CB8AC3E}">
        <p14:creationId xmlns:p14="http://schemas.microsoft.com/office/powerpoint/2010/main" val="2715489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</p:sldLayoutIdLst>
  <p:transition spd="med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>
            <a:extLst>
              <a:ext uri="{FF2B5EF4-FFF2-40B4-BE49-F238E27FC236}">
                <a16:creationId xmlns:a16="http://schemas.microsoft.com/office/drawing/2014/main" id="{A26D1079-7BC7-4FD2-9C7A-C9F45E65716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iteltypografi i masteren</a:t>
            </a:r>
          </a:p>
        </p:txBody>
      </p:sp>
      <p:sp>
        <p:nvSpPr>
          <p:cNvPr id="2051" name="Rectangle 3">
            <a:extLst>
              <a:ext uri="{FF2B5EF4-FFF2-40B4-BE49-F238E27FC236}">
                <a16:creationId xmlns:a16="http://schemas.microsoft.com/office/drawing/2014/main" id="{41AE8D0C-EAA4-477F-8779-C6484A5910D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eksttypografierne i masteren</a:t>
            </a:r>
          </a:p>
          <a:p>
            <a:pPr lvl="1"/>
            <a:r>
              <a:rPr lang="da-DK" altLang="da-DK"/>
              <a:t>Andet niveau</a:t>
            </a:r>
          </a:p>
          <a:p>
            <a:pPr lvl="2"/>
            <a:r>
              <a:rPr lang="da-DK" altLang="da-DK"/>
              <a:t>Tredje niveau</a:t>
            </a:r>
          </a:p>
          <a:p>
            <a:pPr lvl="3"/>
            <a:r>
              <a:rPr lang="da-DK" altLang="da-DK"/>
              <a:t>Fjerde niveau</a:t>
            </a:r>
          </a:p>
          <a:p>
            <a:pPr lvl="4"/>
            <a:r>
              <a:rPr lang="da-DK" altLang="da-DK"/>
              <a:t>Femte niveau</a:t>
            </a:r>
          </a:p>
        </p:txBody>
      </p:sp>
      <p:sp>
        <p:nvSpPr>
          <p:cNvPr id="1028" name="Rectangle 4">
            <a:extLst>
              <a:ext uri="{FF2B5EF4-FFF2-40B4-BE49-F238E27FC236}">
                <a16:creationId xmlns:a16="http://schemas.microsoft.com/office/drawing/2014/main" id="{99B7ECC2-46AB-4812-A791-9DC2D9F5C7EA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1029" name="Rectangle 5">
            <a:extLst>
              <a:ext uri="{FF2B5EF4-FFF2-40B4-BE49-F238E27FC236}">
                <a16:creationId xmlns:a16="http://schemas.microsoft.com/office/drawing/2014/main" id="{36AADF1E-724E-4ADB-8CC5-0C9A038717B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prstClr val="blac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1030" name="Rectangle 6">
            <a:extLst>
              <a:ext uri="{FF2B5EF4-FFF2-40B4-BE49-F238E27FC236}">
                <a16:creationId xmlns:a16="http://schemas.microsoft.com/office/drawing/2014/main" id="{7696C590-0011-47B4-B977-C85CABA8042B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D88DE9F-53A9-45B6-91AB-5793342837CF}" type="slidenum">
              <a:rPr lang="da-DK" altLang="da-DK"/>
              <a:pPr>
                <a:defRPr/>
              </a:pPr>
              <a:t>‹nr.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657125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  <p:sldLayoutId id="2147483756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>
            <a:extLst>
              <a:ext uri="{FF2B5EF4-FFF2-40B4-BE49-F238E27FC236}">
                <a16:creationId xmlns:a16="http://schemas.microsoft.com/office/drawing/2014/main" id="{1B539E41-74F3-471C-A892-638F358AF2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"/>
            <a:ext cx="12192000" cy="188913"/>
          </a:xfrm>
          <a:prstGeom prst="rect">
            <a:avLst/>
          </a:prstGeom>
          <a:solidFill>
            <a:srgbClr val="2A5A70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a-DK" altLang="da-DK" sz="1800">
              <a:solidFill>
                <a:srgbClr val="000000"/>
              </a:solidFill>
            </a:endParaRPr>
          </a:p>
        </p:txBody>
      </p:sp>
      <p:sp>
        <p:nvSpPr>
          <p:cNvPr id="1027" name="Rectangle 10">
            <a:extLst>
              <a:ext uri="{FF2B5EF4-FFF2-40B4-BE49-F238E27FC236}">
                <a16:creationId xmlns:a16="http://schemas.microsoft.com/office/drawing/2014/main" id="{CC9CA975-8917-468A-85C2-2D7837FC9B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6381750"/>
            <a:ext cx="12192000" cy="476250"/>
          </a:xfrm>
          <a:prstGeom prst="rect">
            <a:avLst/>
          </a:prstGeom>
          <a:solidFill>
            <a:srgbClr val="2A5A70"/>
          </a:solidFill>
          <a:ln>
            <a:noFill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da-DK" altLang="da-DK" sz="1800">
              <a:solidFill>
                <a:srgbClr val="000000"/>
              </a:solidFill>
            </a:endParaRPr>
          </a:p>
        </p:txBody>
      </p:sp>
      <p:sp>
        <p:nvSpPr>
          <p:cNvPr id="18436" name="Rectangle 2">
            <a:extLst>
              <a:ext uri="{FF2B5EF4-FFF2-40B4-BE49-F238E27FC236}">
                <a16:creationId xmlns:a16="http://schemas.microsoft.com/office/drawing/2014/main" id="{4BE27799-6FF2-4AAF-A049-3B0390E2B46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4143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iteltypografi i masteren</a:t>
            </a:r>
          </a:p>
        </p:txBody>
      </p:sp>
      <p:sp>
        <p:nvSpPr>
          <p:cNvPr id="18437" name="Rectangle 3">
            <a:extLst>
              <a:ext uri="{FF2B5EF4-FFF2-40B4-BE49-F238E27FC236}">
                <a16:creationId xmlns:a16="http://schemas.microsoft.com/office/drawing/2014/main" id="{4838D131-B181-4ADF-A3E8-3B00B5A3CF0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eksttypografierne i masteren</a:t>
            </a:r>
          </a:p>
          <a:p>
            <a:pPr lvl="1"/>
            <a:r>
              <a:rPr lang="da-DK" altLang="da-DK"/>
              <a:t>Andet niveau</a:t>
            </a:r>
          </a:p>
          <a:p>
            <a:pPr lvl="2"/>
            <a:r>
              <a:rPr lang="da-DK" altLang="da-DK"/>
              <a:t>Tredje niveau</a:t>
            </a:r>
          </a:p>
          <a:p>
            <a:pPr lvl="3"/>
            <a:r>
              <a:rPr lang="da-DK" altLang="da-DK"/>
              <a:t>Fjerde niveau</a:t>
            </a:r>
          </a:p>
          <a:p>
            <a:pPr lvl="4"/>
            <a:r>
              <a:rPr lang="da-DK" altLang="da-DK"/>
              <a:t>Femte niveau</a:t>
            </a:r>
          </a:p>
        </p:txBody>
      </p:sp>
      <p:sp>
        <p:nvSpPr>
          <p:cNvPr id="1030" name="Rectangle 9">
            <a:extLst>
              <a:ext uri="{FF2B5EF4-FFF2-40B4-BE49-F238E27FC236}">
                <a16:creationId xmlns:a16="http://schemas.microsoft.com/office/drawing/2014/main" id="{87C3CE75-E93E-425F-A42F-5459A0678B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933" y="6423026"/>
            <a:ext cx="4895851" cy="24606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da-DK" altLang="da-DK" sz="1000" b="1">
                <a:solidFill>
                  <a:srgbClr val="FFFFFF"/>
                </a:solidFill>
                <a:latin typeface="Verdana" pitchFamily="34" charset="0"/>
              </a:rPr>
              <a:t>Aarhus University Hospital, Skejby</a:t>
            </a:r>
          </a:p>
        </p:txBody>
      </p:sp>
    </p:spTree>
    <p:extLst>
      <p:ext uri="{BB962C8B-B14F-4D97-AF65-F5344CB8AC3E}">
        <p14:creationId xmlns:p14="http://schemas.microsoft.com/office/powerpoint/2010/main" val="16886568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</p:sldLayoutIdLst>
  <p:transition spd="med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rgbClr val="2A5A70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738B9131-0CBE-4461-ADFC-72D19F1A1E76}"/>
              </a:ext>
            </a:extLst>
          </p:cNvPr>
          <p:cNvSpPr/>
          <p:nvPr userDrawn="1"/>
        </p:nvSpPr>
        <p:spPr>
          <a:xfrm>
            <a:off x="-42333" y="1052513"/>
            <a:ext cx="12234333" cy="4789487"/>
          </a:xfrm>
          <a:prstGeom prst="rect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a-DK" sz="1800"/>
          </a:p>
        </p:txBody>
      </p:sp>
      <p:sp>
        <p:nvSpPr>
          <p:cNvPr id="32771" name="Title Placeholder 1">
            <a:extLst>
              <a:ext uri="{FF2B5EF4-FFF2-40B4-BE49-F238E27FC236}">
                <a16:creationId xmlns:a16="http://schemas.microsoft.com/office/drawing/2014/main" id="{3B4D0A23-B630-4ED0-A630-754A8A19436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408518" y="1"/>
            <a:ext cx="11449049" cy="1052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a-DK"/>
              <a:t>Click To Edit Master Title Style</a:t>
            </a:r>
            <a:endParaRPr lang="en-GB" altLang="da-DK"/>
          </a:p>
        </p:txBody>
      </p:sp>
      <p:sp>
        <p:nvSpPr>
          <p:cNvPr id="32772" name="Text Placeholder 2">
            <a:extLst>
              <a:ext uri="{FF2B5EF4-FFF2-40B4-BE49-F238E27FC236}">
                <a16:creationId xmlns:a16="http://schemas.microsoft.com/office/drawing/2014/main" id="{29EBD7A2-294E-4C96-977F-47D9B9B0E64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08518" y="1700214"/>
            <a:ext cx="11449049" cy="432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a-DK"/>
              <a:t>Click to edit Master text styles</a:t>
            </a:r>
          </a:p>
          <a:p>
            <a:pPr lvl="1"/>
            <a:r>
              <a:rPr lang="en-US" altLang="da-DK"/>
              <a:t>Second level</a:t>
            </a:r>
          </a:p>
          <a:p>
            <a:pPr lvl="2"/>
            <a:r>
              <a:rPr lang="en-US" altLang="da-DK"/>
              <a:t>Third level</a:t>
            </a:r>
          </a:p>
          <a:p>
            <a:pPr lvl="3"/>
            <a:r>
              <a:rPr lang="en-US" altLang="da-DK"/>
              <a:t>Fourth level</a:t>
            </a:r>
          </a:p>
          <a:p>
            <a:pPr lvl="4"/>
            <a:r>
              <a:rPr lang="en-US" altLang="da-DK"/>
              <a:t>Fifth level</a:t>
            </a:r>
            <a:endParaRPr lang="en-GB" alt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12B14A-21AB-4113-936D-AE775F53E2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8517" y="6165850"/>
            <a:ext cx="10439400" cy="60325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l" eaLnBrk="1" hangingPunct="1">
              <a:lnSpc>
                <a:spcPts val="563"/>
              </a:lnSpc>
              <a:defRPr sz="525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2774" name="Freeform: Shape 6">
            <a:extLst>
              <a:ext uri="{FF2B5EF4-FFF2-40B4-BE49-F238E27FC236}">
                <a16:creationId xmlns:a16="http://schemas.microsoft.com/office/drawing/2014/main" id="{61F640B5-905A-4E02-89F4-1669CFC9F2FC}"/>
              </a:ext>
            </a:extLst>
          </p:cNvPr>
          <p:cNvSpPr>
            <a:spLocks/>
          </p:cNvSpPr>
          <p:nvPr userDrawn="1"/>
        </p:nvSpPr>
        <p:spPr bwMode="gray">
          <a:xfrm>
            <a:off x="11173884" y="322263"/>
            <a:ext cx="700616" cy="500062"/>
          </a:xfrm>
          <a:custGeom>
            <a:avLst/>
            <a:gdLst>
              <a:gd name="T0" fmla="*/ 379269 w 5293529"/>
              <a:gd name="T1" fmla="*/ 439632 h 3773692"/>
              <a:gd name="T2" fmla="*/ 285329 w 5293529"/>
              <a:gd name="T3" fmla="*/ 492226 h 3773692"/>
              <a:gd name="T4" fmla="*/ 153842 w 5293529"/>
              <a:gd name="T5" fmla="*/ 438952 h 3773692"/>
              <a:gd name="T6" fmla="*/ 171354 w 5293529"/>
              <a:gd name="T7" fmla="*/ 438952 h 3773692"/>
              <a:gd name="T8" fmla="*/ 70914 w 5293529"/>
              <a:gd name="T9" fmla="*/ 492226 h 3773692"/>
              <a:gd name="T10" fmla="*/ 406758 w 5293529"/>
              <a:gd name="T11" fmla="*/ 428515 h 3773692"/>
              <a:gd name="T12" fmla="*/ 399805 w 5293529"/>
              <a:gd name="T13" fmla="*/ 430944 h 3773692"/>
              <a:gd name="T14" fmla="*/ 477873 w 5293529"/>
              <a:gd name="T15" fmla="*/ 460711 h 3773692"/>
              <a:gd name="T16" fmla="*/ 486549 w 5293529"/>
              <a:gd name="T17" fmla="*/ 495950 h 3773692"/>
              <a:gd name="T18" fmla="*/ 96519 w 5293529"/>
              <a:gd name="T19" fmla="*/ 428181 h 3773692"/>
              <a:gd name="T20" fmla="*/ 137777 w 5293529"/>
              <a:gd name="T21" fmla="*/ 428181 h 3773692"/>
              <a:gd name="T22" fmla="*/ 113732 w 5293529"/>
              <a:gd name="T23" fmla="*/ 495928 h 3773692"/>
              <a:gd name="T24" fmla="*/ 445469 w 5293529"/>
              <a:gd name="T25" fmla="*/ 439848 h 3773692"/>
              <a:gd name="T26" fmla="*/ 420260 w 5293529"/>
              <a:gd name="T27" fmla="*/ 485168 h 3773692"/>
              <a:gd name="T28" fmla="*/ 330775 w 5293529"/>
              <a:gd name="T29" fmla="*/ 426626 h 3773692"/>
              <a:gd name="T30" fmla="*/ 321752 w 5293529"/>
              <a:gd name="T31" fmla="*/ 497601 h 3773692"/>
              <a:gd name="T32" fmla="*/ 285337 w 5293529"/>
              <a:gd name="T33" fmla="*/ 426626 h 3773692"/>
              <a:gd name="T34" fmla="*/ 262731 w 5293529"/>
              <a:gd name="T35" fmla="*/ 463474 h 3773692"/>
              <a:gd name="T36" fmla="*/ 253918 w 5293529"/>
              <a:gd name="T37" fmla="*/ 497979 h 3773692"/>
              <a:gd name="T38" fmla="*/ 223599 w 5293529"/>
              <a:gd name="T39" fmla="*/ 495281 h 3773692"/>
              <a:gd name="T40" fmla="*/ 234692 w 5293529"/>
              <a:gd name="T41" fmla="*/ 426626 h 3773692"/>
              <a:gd name="T42" fmla="*/ 149427 w 5293529"/>
              <a:gd name="T43" fmla="*/ 495184 h 3773692"/>
              <a:gd name="T44" fmla="*/ 93625 w 5293529"/>
              <a:gd name="T45" fmla="*/ 463474 h 3773692"/>
              <a:gd name="T46" fmla="*/ 70922 w 5293529"/>
              <a:gd name="T47" fmla="*/ 426626 h 3773692"/>
              <a:gd name="T48" fmla="*/ 31515 w 5293529"/>
              <a:gd name="T49" fmla="*/ 495281 h 3773692"/>
              <a:gd name="T50" fmla="*/ 1827 w 5293529"/>
              <a:gd name="T51" fmla="*/ 497979 h 3773692"/>
              <a:gd name="T52" fmla="*/ 385971 w 5293529"/>
              <a:gd name="T53" fmla="*/ 403303 h 3773692"/>
              <a:gd name="T54" fmla="*/ 379172 w 5293529"/>
              <a:gd name="T55" fmla="*/ 430760 h 3773692"/>
              <a:gd name="T56" fmla="*/ 467185 w 5293529"/>
              <a:gd name="T57" fmla="*/ 495939 h 3773692"/>
              <a:gd name="T58" fmla="*/ 404478 w 5293529"/>
              <a:gd name="T59" fmla="*/ 402277 h 3773692"/>
              <a:gd name="T60" fmla="*/ 505330 w 5293529"/>
              <a:gd name="T61" fmla="*/ 389660 h 3773692"/>
              <a:gd name="T62" fmla="*/ 508783 w 5293529"/>
              <a:gd name="T63" fmla="*/ 379515 h 3773692"/>
              <a:gd name="T64" fmla="*/ 511184 w 5293529"/>
              <a:gd name="T65" fmla="*/ 392358 h 3773692"/>
              <a:gd name="T66" fmla="*/ 512332 w 5293529"/>
              <a:gd name="T67" fmla="*/ 399029 h 3773692"/>
              <a:gd name="T68" fmla="*/ 509454 w 5293529"/>
              <a:gd name="T69" fmla="*/ 373104 h 3773692"/>
              <a:gd name="T70" fmla="*/ 525462 w 5293529"/>
              <a:gd name="T71" fmla="*/ 390945 h 3773692"/>
              <a:gd name="T72" fmla="*/ 345772 w 5293529"/>
              <a:gd name="T73" fmla="*/ 278136 h 3773692"/>
              <a:gd name="T74" fmla="*/ 239875 w 5293529"/>
              <a:gd name="T75" fmla="*/ 212104 h 3773692"/>
              <a:gd name="T76" fmla="*/ 305113 w 5293529"/>
              <a:gd name="T77" fmla="*/ 179153 h 3773692"/>
              <a:gd name="T78" fmla="*/ 202409 w 5293529"/>
              <a:gd name="T79" fmla="*/ 212115 h 3773692"/>
              <a:gd name="T80" fmla="*/ 183959 w 5293529"/>
              <a:gd name="T81" fmla="*/ 263652 h 3773692"/>
              <a:gd name="T82" fmla="*/ 322132 w 5293529"/>
              <a:gd name="T83" fmla="*/ 176207 h 3773692"/>
              <a:gd name="T84" fmla="*/ 244014 w 5293529"/>
              <a:gd name="T85" fmla="*/ 229157 h 3773692"/>
              <a:gd name="T86" fmla="*/ 193863 w 5293529"/>
              <a:gd name="T87" fmla="*/ 166730 h 3773692"/>
              <a:gd name="T88" fmla="*/ 136099 w 5293529"/>
              <a:gd name="T89" fmla="*/ 132117 h 3773692"/>
              <a:gd name="T90" fmla="*/ 138505 w 5293529"/>
              <a:gd name="T91" fmla="*/ 190184 h 3773692"/>
              <a:gd name="T92" fmla="*/ 116012 w 5293529"/>
              <a:gd name="T93" fmla="*/ 75972 h 3773692"/>
              <a:gd name="T94" fmla="*/ 265051 w 5293529"/>
              <a:gd name="T95" fmla="*/ 171857 h 3773692"/>
              <a:gd name="T96" fmla="*/ 342215 w 5293529"/>
              <a:gd name="T97" fmla="*/ 389585 h 3773692"/>
              <a:gd name="T98" fmla="*/ 280429 w 5293529"/>
              <a:gd name="T99" fmla="*/ 392402 h 3773692"/>
              <a:gd name="T100" fmla="*/ 225661 w 5293529"/>
              <a:gd name="T101" fmla="*/ 297779 h 3773692"/>
              <a:gd name="T102" fmla="*/ 165889 w 5293529"/>
              <a:gd name="T103" fmla="*/ 390470 h 3773692"/>
              <a:gd name="T104" fmla="*/ 139176 w 5293529"/>
              <a:gd name="T105" fmla="*/ 207658 h 3773692"/>
              <a:gd name="T106" fmla="*/ 116594 w 5293529"/>
              <a:gd name="T107" fmla="*/ 145587 h 3773692"/>
              <a:gd name="T108" fmla="*/ 137526 w 5293529"/>
              <a:gd name="T109" fmla="*/ 47392 h 3773692"/>
              <a:gd name="T110" fmla="*/ 162703 w 5293529"/>
              <a:gd name="T111" fmla="*/ 105815 h 37736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5293529" h="3773692">
                <a:moveTo>
                  <a:pt x="3724334" y="3284754"/>
                </a:moveTo>
                <a:cubicBezTo>
                  <a:pt x="3631808" y="3284754"/>
                  <a:pt x="3564286" y="3367017"/>
                  <a:pt x="3564286" y="3490983"/>
                </a:cubicBezTo>
                <a:cubicBezTo>
                  <a:pt x="3564286" y="3631319"/>
                  <a:pt x="3633681" y="3713664"/>
                  <a:pt x="3731094" y="3713664"/>
                </a:cubicBezTo>
                <a:cubicBezTo>
                  <a:pt x="3776379" y="3713664"/>
                  <a:pt x="3819792" y="3699166"/>
                  <a:pt x="3819792" y="3673021"/>
                </a:cubicBezTo>
                <a:lnTo>
                  <a:pt x="3820769" y="3673021"/>
                </a:lnTo>
                <a:cubicBezTo>
                  <a:pt x="3820769" y="3673021"/>
                  <a:pt x="3820769" y="3673021"/>
                  <a:pt x="3820769" y="3317659"/>
                </a:cubicBezTo>
                <a:cubicBezTo>
                  <a:pt x="3800488" y="3301207"/>
                  <a:pt x="3776379" y="3284754"/>
                  <a:pt x="3724334" y="3284754"/>
                </a:cubicBezTo>
                <a:close/>
                <a:moveTo>
                  <a:pt x="2874414" y="3278646"/>
                </a:moveTo>
                <a:cubicBezTo>
                  <a:pt x="2840694" y="3278646"/>
                  <a:pt x="2814630" y="3286384"/>
                  <a:pt x="2787589" y="3312529"/>
                </a:cubicBezTo>
                <a:cubicBezTo>
                  <a:pt x="2759571" y="3339651"/>
                  <a:pt x="2740267" y="3401634"/>
                  <a:pt x="2740267" y="3497581"/>
                </a:cubicBezTo>
                <a:cubicBezTo>
                  <a:pt x="2740267" y="3594423"/>
                  <a:pt x="2759571" y="3654533"/>
                  <a:pt x="2787589" y="3681655"/>
                </a:cubicBezTo>
                <a:cubicBezTo>
                  <a:pt x="2814549" y="3707800"/>
                  <a:pt x="2838739" y="3714560"/>
                  <a:pt x="2874414" y="3714560"/>
                </a:cubicBezTo>
                <a:cubicBezTo>
                  <a:pt x="2910088" y="3714560"/>
                  <a:pt x="2936152" y="3707800"/>
                  <a:pt x="2963193" y="3681655"/>
                </a:cubicBezTo>
                <a:cubicBezTo>
                  <a:pt x="2992189" y="3654533"/>
                  <a:pt x="3010515" y="3592550"/>
                  <a:pt x="3010515" y="3497581"/>
                </a:cubicBezTo>
                <a:cubicBezTo>
                  <a:pt x="3010515" y="3399761"/>
                  <a:pt x="2992189" y="3339651"/>
                  <a:pt x="2963193" y="3312529"/>
                </a:cubicBezTo>
                <a:cubicBezTo>
                  <a:pt x="2936152" y="3286384"/>
                  <a:pt x="2910088" y="3278646"/>
                  <a:pt x="2874414" y="3278646"/>
                </a:cubicBezTo>
                <a:close/>
                <a:moveTo>
                  <a:pt x="1638997" y="3278646"/>
                </a:moveTo>
                <a:cubicBezTo>
                  <a:pt x="1603078" y="3278646"/>
                  <a:pt x="1576933" y="3286384"/>
                  <a:pt x="1549810" y="3312529"/>
                </a:cubicBezTo>
                <a:cubicBezTo>
                  <a:pt x="1521710" y="3339651"/>
                  <a:pt x="1502326" y="3401634"/>
                  <a:pt x="1502326" y="3497581"/>
                </a:cubicBezTo>
                <a:cubicBezTo>
                  <a:pt x="1502326" y="3594423"/>
                  <a:pt x="1521710" y="3654533"/>
                  <a:pt x="1549810" y="3681655"/>
                </a:cubicBezTo>
                <a:cubicBezTo>
                  <a:pt x="1578888" y="3707800"/>
                  <a:pt x="1603159" y="3714560"/>
                  <a:pt x="1638997" y="3714560"/>
                </a:cubicBezTo>
                <a:cubicBezTo>
                  <a:pt x="1672961" y="3714560"/>
                  <a:pt x="1699106" y="3707800"/>
                  <a:pt x="1726229" y="3681655"/>
                </a:cubicBezTo>
                <a:cubicBezTo>
                  <a:pt x="1755306" y="3654533"/>
                  <a:pt x="1773713" y="3592550"/>
                  <a:pt x="1773713" y="3497581"/>
                </a:cubicBezTo>
                <a:cubicBezTo>
                  <a:pt x="1773713" y="3399761"/>
                  <a:pt x="1755306" y="3339651"/>
                  <a:pt x="1726229" y="3312529"/>
                </a:cubicBezTo>
                <a:cubicBezTo>
                  <a:pt x="1699106" y="3286384"/>
                  <a:pt x="1674916" y="3278646"/>
                  <a:pt x="1638997" y="3278646"/>
                </a:cubicBezTo>
                <a:close/>
                <a:moveTo>
                  <a:pt x="714389" y="3278646"/>
                </a:moveTo>
                <a:cubicBezTo>
                  <a:pt x="679528" y="3278646"/>
                  <a:pt x="654279" y="3286384"/>
                  <a:pt x="627157" y="3312529"/>
                </a:cubicBezTo>
                <a:cubicBezTo>
                  <a:pt x="598079" y="3339651"/>
                  <a:pt x="579672" y="3401634"/>
                  <a:pt x="579672" y="3497581"/>
                </a:cubicBezTo>
                <a:cubicBezTo>
                  <a:pt x="579672" y="3594423"/>
                  <a:pt x="598079" y="3654533"/>
                  <a:pt x="627157" y="3681655"/>
                </a:cubicBezTo>
                <a:cubicBezTo>
                  <a:pt x="654279" y="3707800"/>
                  <a:pt x="678551" y="3714560"/>
                  <a:pt x="714389" y="3714560"/>
                </a:cubicBezTo>
                <a:cubicBezTo>
                  <a:pt x="750226" y="3714560"/>
                  <a:pt x="775475" y="3707800"/>
                  <a:pt x="802598" y="3681655"/>
                </a:cubicBezTo>
                <a:cubicBezTo>
                  <a:pt x="831675" y="3654533"/>
                  <a:pt x="850082" y="3592550"/>
                  <a:pt x="850082" y="3497581"/>
                </a:cubicBezTo>
                <a:cubicBezTo>
                  <a:pt x="850082" y="3399761"/>
                  <a:pt x="830779" y="3339651"/>
                  <a:pt x="802598" y="3312529"/>
                </a:cubicBezTo>
                <a:cubicBezTo>
                  <a:pt x="774498" y="3286384"/>
                  <a:pt x="750226" y="3278646"/>
                  <a:pt x="714389" y="3278646"/>
                </a:cubicBezTo>
                <a:close/>
                <a:moveTo>
                  <a:pt x="4044917" y="3233767"/>
                </a:moveTo>
                <a:cubicBezTo>
                  <a:pt x="4044917" y="3233767"/>
                  <a:pt x="4044917" y="3233767"/>
                  <a:pt x="4097696" y="3233767"/>
                </a:cubicBezTo>
                <a:cubicBezTo>
                  <a:pt x="4113089" y="3233767"/>
                  <a:pt x="4116918" y="3236618"/>
                  <a:pt x="4116918" y="3252093"/>
                </a:cubicBezTo>
                <a:cubicBezTo>
                  <a:pt x="4116918" y="3252093"/>
                  <a:pt x="4116918" y="3252093"/>
                  <a:pt x="4116918" y="3739728"/>
                </a:cubicBezTo>
                <a:cubicBezTo>
                  <a:pt x="4116918" y="3757077"/>
                  <a:pt x="4113089" y="3757077"/>
                  <a:pt x="4097777" y="3758054"/>
                </a:cubicBezTo>
                <a:cubicBezTo>
                  <a:pt x="4097777" y="3758054"/>
                  <a:pt x="4097777" y="3758054"/>
                  <a:pt x="4043043" y="3758054"/>
                </a:cubicBezTo>
                <a:cubicBezTo>
                  <a:pt x="4027650" y="3758054"/>
                  <a:pt x="4027650" y="3754226"/>
                  <a:pt x="4027650" y="3739728"/>
                </a:cubicBezTo>
                <a:cubicBezTo>
                  <a:pt x="4027650" y="3739728"/>
                  <a:pt x="4027650" y="3739728"/>
                  <a:pt x="4027650" y="3252093"/>
                </a:cubicBezTo>
                <a:cubicBezTo>
                  <a:pt x="4027650" y="3239550"/>
                  <a:pt x="4027650" y="3233767"/>
                  <a:pt x="4044917" y="3233767"/>
                </a:cubicBezTo>
                <a:close/>
                <a:moveTo>
                  <a:pt x="4934502" y="3231242"/>
                </a:moveTo>
                <a:cubicBezTo>
                  <a:pt x="4934502" y="3231242"/>
                  <a:pt x="4934502" y="3231242"/>
                  <a:pt x="4982068" y="3231242"/>
                </a:cubicBezTo>
                <a:cubicBezTo>
                  <a:pt x="4995588" y="3231242"/>
                  <a:pt x="5000475" y="3234093"/>
                  <a:pt x="5000475" y="3242808"/>
                </a:cubicBezTo>
                <a:cubicBezTo>
                  <a:pt x="5000475" y="3248591"/>
                  <a:pt x="4999498" y="3253396"/>
                  <a:pt x="4995588" y="3263088"/>
                </a:cubicBezTo>
                <a:cubicBezTo>
                  <a:pt x="4951932" y="3348121"/>
                  <a:pt x="4882048" y="3426475"/>
                  <a:pt x="4814120" y="3476729"/>
                </a:cubicBezTo>
                <a:cubicBezTo>
                  <a:pt x="4814120" y="3476729"/>
                  <a:pt x="4814120" y="3476729"/>
                  <a:pt x="4816075" y="3478684"/>
                </a:cubicBezTo>
                <a:cubicBezTo>
                  <a:pt x="4816075" y="3478684"/>
                  <a:pt x="4816075" y="3478684"/>
                  <a:pt x="5008213" y="3732967"/>
                </a:cubicBezTo>
                <a:cubicBezTo>
                  <a:pt x="5012041" y="3736796"/>
                  <a:pt x="5014973" y="3741682"/>
                  <a:pt x="5014973" y="3745511"/>
                </a:cubicBezTo>
                <a:cubicBezTo>
                  <a:pt x="5014973" y="3757076"/>
                  <a:pt x="5005281" y="3757076"/>
                  <a:pt x="5000475" y="3758135"/>
                </a:cubicBezTo>
                <a:cubicBezTo>
                  <a:pt x="5000475" y="3758135"/>
                  <a:pt x="5000475" y="3758135"/>
                  <a:pt x="4931570" y="3758135"/>
                </a:cubicBezTo>
                <a:cubicBezTo>
                  <a:pt x="4916094" y="3758135"/>
                  <a:pt x="4912185" y="3758135"/>
                  <a:pt x="4901515" y="3742660"/>
                </a:cubicBezTo>
                <a:cubicBezTo>
                  <a:pt x="4901515" y="3742660"/>
                  <a:pt x="4901515" y="3742660"/>
                  <a:pt x="4721024" y="3484548"/>
                </a:cubicBezTo>
                <a:cubicBezTo>
                  <a:pt x="4721024" y="3482593"/>
                  <a:pt x="4720047" y="3479743"/>
                  <a:pt x="4720047" y="3478766"/>
                </a:cubicBezTo>
                <a:cubicBezTo>
                  <a:pt x="4720047" y="3478766"/>
                  <a:pt x="4721024" y="3475915"/>
                  <a:pt x="4723956" y="3472982"/>
                </a:cubicBezTo>
                <a:cubicBezTo>
                  <a:pt x="4799622" y="3428511"/>
                  <a:pt x="4874392" y="3334682"/>
                  <a:pt x="4903470" y="3247695"/>
                </a:cubicBezTo>
                <a:cubicBezTo>
                  <a:pt x="4909252" y="3230265"/>
                  <a:pt x="4916094" y="3231242"/>
                  <a:pt x="4934502" y="3231242"/>
                </a:cubicBezTo>
                <a:close/>
                <a:moveTo>
                  <a:pt x="972337" y="3231242"/>
                </a:moveTo>
                <a:cubicBezTo>
                  <a:pt x="972337" y="3231242"/>
                  <a:pt x="972337" y="3231242"/>
                  <a:pt x="1034320" y="3231242"/>
                </a:cubicBezTo>
                <a:cubicBezTo>
                  <a:pt x="1049795" y="3231242"/>
                  <a:pt x="1051750" y="3233197"/>
                  <a:pt x="1057533" y="3247695"/>
                </a:cubicBezTo>
                <a:cubicBezTo>
                  <a:pt x="1057533" y="3247695"/>
                  <a:pt x="1057533" y="3247695"/>
                  <a:pt x="1193145" y="3633111"/>
                </a:cubicBezTo>
                <a:cubicBezTo>
                  <a:pt x="1193145" y="3633111"/>
                  <a:pt x="1193145" y="3633111"/>
                  <a:pt x="1324929" y="3245740"/>
                </a:cubicBezTo>
                <a:cubicBezTo>
                  <a:pt x="1329816" y="3236047"/>
                  <a:pt x="1330794" y="3233197"/>
                  <a:pt x="1337554" y="3231242"/>
                </a:cubicBezTo>
                <a:cubicBezTo>
                  <a:pt x="1337554" y="3231242"/>
                  <a:pt x="1337554" y="3231242"/>
                  <a:pt x="1387971" y="3231242"/>
                </a:cubicBezTo>
                <a:cubicBezTo>
                  <a:pt x="1392858" y="3231242"/>
                  <a:pt x="1400595" y="3231242"/>
                  <a:pt x="1400595" y="3241912"/>
                </a:cubicBezTo>
                <a:cubicBezTo>
                  <a:pt x="1400595" y="3244762"/>
                  <a:pt x="1400595" y="3245740"/>
                  <a:pt x="1398641" y="3257387"/>
                </a:cubicBezTo>
                <a:cubicBezTo>
                  <a:pt x="1398641" y="3257387"/>
                  <a:pt x="1398641" y="3257387"/>
                  <a:pt x="1220349" y="3742497"/>
                </a:cubicBezTo>
                <a:cubicBezTo>
                  <a:pt x="1216439" y="3756017"/>
                  <a:pt x="1213589" y="3757972"/>
                  <a:pt x="1201942" y="3757972"/>
                </a:cubicBezTo>
                <a:cubicBezTo>
                  <a:pt x="1201942" y="3757972"/>
                  <a:pt x="1201942" y="3757972"/>
                  <a:pt x="1162194" y="3757972"/>
                </a:cubicBezTo>
                <a:cubicBezTo>
                  <a:pt x="1153479" y="3757972"/>
                  <a:pt x="1151525" y="3754144"/>
                  <a:pt x="1145742" y="3742497"/>
                </a:cubicBezTo>
                <a:cubicBezTo>
                  <a:pt x="1145742" y="3742497"/>
                  <a:pt x="1145742" y="3742497"/>
                  <a:pt x="962645" y="3259260"/>
                </a:cubicBezTo>
                <a:cubicBezTo>
                  <a:pt x="959712" y="3253477"/>
                  <a:pt x="958735" y="3248672"/>
                  <a:pt x="958735" y="3244762"/>
                </a:cubicBezTo>
                <a:cubicBezTo>
                  <a:pt x="958735" y="3231242"/>
                  <a:pt x="968427" y="3231242"/>
                  <a:pt x="972337" y="3231242"/>
                </a:cubicBezTo>
                <a:close/>
                <a:moveTo>
                  <a:pt x="4388794" y="3222446"/>
                </a:moveTo>
                <a:cubicBezTo>
                  <a:pt x="4459573" y="3222446"/>
                  <a:pt x="4525465" y="3244682"/>
                  <a:pt x="4525465" y="3283451"/>
                </a:cubicBezTo>
                <a:cubicBezTo>
                  <a:pt x="4525465" y="3310574"/>
                  <a:pt x="4503148" y="3319289"/>
                  <a:pt x="4487673" y="3319289"/>
                </a:cubicBezTo>
                <a:cubicBezTo>
                  <a:pt x="4457618" y="3319289"/>
                  <a:pt x="4442143" y="3280519"/>
                  <a:pt x="4383011" y="3280519"/>
                </a:cubicBezTo>
                <a:cubicBezTo>
                  <a:pt x="4325834" y="3280519"/>
                  <a:pt x="4295779" y="3319289"/>
                  <a:pt x="4295779" y="3358058"/>
                </a:cubicBezTo>
                <a:cubicBezTo>
                  <a:pt x="4295779" y="3471435"/>
                  <a:pt x="4544850" y="3444313"/>
                  <a:pt x="4544850" y="3615763"/>
                </a:cubicBezTo>
                <a:cubicBezTo>
                  <a:pt x="4544850" y="3725230"/>
                  <a:pt x="4450777" y="3773692"/>
                  <a:pt x="4358739" y="3772715"/>
                </a:cubicBezTo>
                <a:cubicBezTo>
                  <a:pt x="4277372" y="3772715"/>
                  <a:pt x="4195923" y="3736796"/>
                  <a:pt x="4195923" y="3695175"/>
                </a:cubicBezTo>
                <a:cubicBezTo>
                  <a:pt x="4195923" y="3669031"/>
                  <a:pt x="4217263" y="3661293"/>
                  <a:pt x="4233715" y="3661293"/>
                </a:cubicBezTo>
                <a:cubicBezTo>
                  <a:pt x="4268657" y="3661293"/>
                  <a:pt x="4288938" y="3714560"/>
                  <a:pt x="4360694" y="3714560"/>
                </a:cubicBezTo>
                <a:cubicBezTo>
                  <a:pt x="4431392" y="3714560"/>
                  <a:pt x="4464379" y="3667076"/>
                  <a:pt x="4464379" y="3625455"/>
                </a:cubicBezTo>
                <a:cubicBezTo>
                  <a:pt x="4464379" y="3571210"/>
                  <a:pt x="4410134" y="3547916"/>
                  <a:pt x="4351979" y="3523726"/>
                </a:cubicBezTo>
                <a:cubicBezTo>
                  <a:pt x="4277372" y="3491716"/>
                  <a:pt x="4215308" y="3454901"/>
                  <a:pt x="4215308" y="3366774"/>
                </a:cubicBezTo>
                <a:cubicBezTo>
                  <a:pt x="4215308" y="3272863"/>
                  <a:pt x="4297653" y="3222446"/>
                  <a:pt x="4388794" y="3222446"/>
                </a:cubicBezTo>
                <a:close/>
                <a:moveTo>
                  <a:pt x="3332238" y="3219514"/>
                </a:moveTo>
                <a:cubicBezTo>
                  <a:pt x="3402936" y="3219514"/>
                  <a:pt x="3464837" y="3234989"/>
                  <a:pt x="3464837" y="3272619"/>
                </a:cubicBezTo>
                <a:cubicBezTo>
                  <a:pt x="3464837" y="3302510"/>
                  <a:pt x="3445452" y="3317986"/>
                  <a:pt x="3420447" y="3317008"/>
                </a:cubicBezTo>
                <a:cubicBezTo>
                  <a:pt x="3385587" y="3317008"/>
                  <a:pt x="3375895" y="3269687"/>
                  <a:pt x="3311061" y="3269687"/>
                </a:cubicBezTo>
                <a:cubicBezTo>
                  <a:pt x="3281007" y="3269687"/>
                  <a:pt x="3259748" y="3288013"/>
                  <a:pt x="3259748" y="3315053"/>
                </a:cubicBezTo>
                <a:cubicBezTo>
                  <a:pt x="3259748" y="3315053"/>
                  <a:pt x="3259748" y="3315053"/>
                  <a:pt x="3259748" y="3738751"/>
                </a:cubicBezTo>
                <a:cubicBezTo>
                  <a:pt x="3259748" y="3754145"/>
                  <a:pt x="3253884" y="3755122"/>
                  <a:pt x="3241341" y="3755122"/>
                </a:cubicBezTo>
                <a:cubicBezTo>
                  <a:pt x="3241341" y="3755122"/>
                  <a:pt x="3241341" y="3755122"/>
                  <a:pt x="3190028" y="3755122"/>
                </a:cubicBezTo>
                <a:cubicBezTo>
                  <a:pt x="3175449" y="3755122"/>
                  <a:pt x="3169666" y="3754226"/>
                  <a:pt x="3169666" y="3738751"/>
                </a:cubicBezTo>
                <a:cubicBezTo>
                  <a:pt x="3169666" y="3738751"/>
                  <a:pt x="3169666" y="3738751"/>
                  <a:pt x="3169666" y="3276447"/>
                </a:cubicBezTo>
                <a:cubicBezTo>
                  <a:pt x="3169666" y="3260075"/>
                  <a:pt x="3182209" y="3243704"/>
                  <a:pt x="3217069" y="3234989"/>
                </a:cubicBezTo>
                <a:cubicBezTo>
                  <a:pt x="3244192" y="3228229"/>
                  <a:pt x="3278075" y="3219514"/>
                  <a:pt x="3332238" y="3219514"/>
                </a:cubicBezTo>
                <a:close/>
                <a:moveTo>
                  <a:pt x="2874495" y="3219514"/>
                </a:moveTo>
                <a:cubicBezTo>
                  <a:pt x="2920758" y="3219514"/>
                  <a:pt x="2969057" y="3231161"/>
                  <a:pt x="3005709" y="3257306"/>
                </a:cubicBezTo>
                <a:cubicBezTo>
                  <a:pt x="3064597" y="3298031"/>
                  <a:pt x="3103204" y="3375489"/>
                  <a:pt x="3103204" y="3497581"/>
                </a:cubicBezTo>
                <a:cubicBezTo>
                  <a:pt x="3103204" y="3618695"/>
                  <a:pt x="3064597" y="3696153"/>
                  <a:pt x="3005709" y="3736878"/>
                </a:cubicBezTo>
                <a:cubicBezTo>
                  <a:pt x="2970035" y="3761068"/>
                  <a:pt x="2921817" y="3773692"/>
                  <a:pt x="2874495" y="3773692"/>
                </a:cubicBezTo>
                <a:cubicBezTo>
                  <a:pt x="2828232" y="3773692"/>
                  <a:pt x="2778956" y="3762045"/>
                  <a:pt x="2743281" y="3736878"/>
                </a:cubicBezTo>
                <a:cubicBezTo>
                  <a:pt x="2685371" y="3696234"/>
                  <a:pt x="2646764" y="3618695"/>
                  <a:pt x="2646764" y="3497581"/>
                </a:cubicBezTo>
                <a:cubicBezTo>
                  <a:pt x="2646764" y="3375489"/>
                  <a:pt x="2685371" y="3298031"/>
                  <a:pt x="2743281" y="3257306"/>
                </a:cubicBezTo>
                <a:cubicBezTo>
                  <a:pt x="2780910" y="3233116"/>
                  <a:pt x="2829128" y="3219514"/>
                  <a:pt x="2874495" y="3219514"/>
                </a:cubicBezTo>
                <a:close/>
                <a:moveTo>
                  <a:pt x="2364299" y="3219514"/>
                </a:moveTo>
                <a:cubicBezTo>
                  <a:pt x="2565641" y="3219514"/>
                  <a:pt x="2567596" y="3326049"/>
                  <a:pt x="2567596" y="3387054"/>
                </a:cubicBezTo>
                <a:cubicBezTo>
                  <a:pt x="2567596" y="3387054"/>
                  <a:pt x="2567596" y="3387054"/>
                  <a:pt x="2567596" y="3737692"/>
                </a:cubicBezTo>
                <a:cubicBezTo>
                  <a:pt x="2567596" y="3746407"/>
                  <a:pt x="2567596" y="3756100"/>
                  <a:pt x="2557985" y="3757973"/>
                </a:cubicBezTo>
                <a:cubicBezTo>
                  <a:pt x="2557985" y="3757973"/>
                  <a:pt x="2557985" y="3757973"/>
                  <a:pt x="2502111" y="3757973"/>
                </a:cubicBezTo>
                <a:cubicBezTo>
                  <a:pt x="2484762" y="3757973"/>
                  <a:pt x="2478979" y="3756018"/>
                  <a:pt x="2478979" y="3737611"/>
                </a:cubicBezTo>
                <a:cubicBezTo>
                  <a:pt x="2478979" y="3737611"/>
                  <a:pt x="2478979" y="3737611"/>
                  <a:pt x="2478979" y="3398620"/>
                </a:cubicBezTo>
                <a:cubicBezTo>
                  <a:pt x="2478979" y="3351136"/>
                  <a:pt x="2478979" y="3274655"/>
                  <a:pt x="2361448" y="3274655"/>
                </a:cubicBezTo>
                <a:cubicBezTo>
                  <a:pt x="2291077" y="3274655"/>
                  <a:pt x="2252551" y="3297868"/>
                  <a:pt x="2252551" y="3320185"/>
                </a:cubicBezTo>
                <a:cubicBezTo>
                  <a:pt x="2252551" y="3320185"/>
                  <a:pt x="2252551" y="3320185"/>
                  <a:pt x="2252551" y="3737611"/>
                </a:cubicBezTo>
                <a:cubicBezTo>
                  <a:pt x="2252551" y="3756018"/>
                  <a:pt x="2245791" y="3757973"/>
                  <a:pt x="2231375" y="3757973"/>
                </a:cubicBezTo>
                <a:cubicBezTo>
                  <a:pt x="2231375" y="3757973"/>
                  <a:pt x="2231375" y="3757973"/>
                  <a:pt x="2181283" y="3757973"/>
                </a:cubicBezTo>
                <a:cubicBezTo>
                  <a:pt x="2165808" y="3757973"/>
                  <a:pt x="2161980" y="3756018"/>
                  <a:pt x="2161980" y="3739565"/>
                </a:cubicBezTo>
                <a:cubicBezTo>
                  <a:pt x="2161980" y="3739565"/>
                  <a:pt x="2161980" y="3739565"/>
                  <a:pt x="2161980" y="3286302"/>
                </a:cubicBezTo>
                <a:cubicBezTo>
                  <a:pt x="2161980" y="3268872"/>
                  <a:pt x="2172568" y="3256329"/>
                  <a:pt x="2207266" y="3244682"/>
                </a:cubicBezTo>
                <a:cubicBezTo>
                  <a:pt x="2235203" y="3235967"/>
                  <a:pt x="2287248" y="3219514"/>
                  <a:pt x="2364299" y="3219514"/>
                </a:cubicBezTo>
                <a:close/>
                <a:moveTo>
                  <a:pt x="1637124" y="3219514"/>
                </a:moveTo>
                <a:cubicBezTo>
                  <a:pt x="1684608" y="3219514"/>
                  <a:pt x="1734048" y="3231161"/>
                  <a:pt x="1768908" y="3257306"/>
                </a:cubicBezTo>
                <a:cubicBezTo>
                  <a:pt x="1828040" y="3298031"/>
                  <a:pt x="1866810" y="3375489"/>
                  <a:pt x="1866810" y="3497581"/>
                </a:cubicBezTo>
                <a:cubicBezTo>
                  <a:pt x="1866810" y="3618695"/>
                  <a:pt x="1828040" y="3696153"/>
                  <a:pt x="1768908" y="3736878"/>
                </a:cubicBezTo>
                <a:cubicBezTo>
                  <a:pt x="1732093" y="3761068"/>
                  <a:pt x="1684608" y="3773692"/>
                  <a:pt x="1637124" y="3773692"/>
                </a:cubicBezTo>
                <a:cubicBezTo>
                  <a:pt x="1590616" y="3773692"/>
                  <a:pt x="1541177" y="3762045"/>
                  <a:pt x="1505339" y="3736878"/>
                </a:cubicBezTo>
                <a:cubicBezTo>
                  <a:pt x="1447185" y="3696234"/>
                  <a:pt x="1408415" y="3618695"/>
                  <a:pt x="1408415" y="3497581"/>
                </a:cubicBezTo>
                <a:cubicBezTo>
                  <a:pt x="1408415" y="3375489"/>
                  <a:pt x="1447185" y="3298031"/>
                  <a:pt x="1505339" y="3257306"/>
                </a:cubicBezTo>
                <a:cubicBezTo>
                  <a:pt x="1543132" y="3233116"/>
                  <a:pt x="1590616" y="3219514"/>
                  <a:pt x="1637124" y="3219514"/>
                </a:cubicBezTo>
                <a:close/>
                <a:moveTo>
                  <a:pt x="714470" y="3219514"/>
                </a:moveTo>
                <a:cubicBezTo>
                  <a:pt x="761955" y="3219514"/>
                  <a:pt x="808462" y="3231161"/>
                  <a:pt x="846254" y="3257306"/>
                </a:cubicBezTo>
                <a:cubicBezTo>
                  <a:pt x="904409" y="3298031"/>
                  <a:pt x="943179" y="3375489"/>
                  <a:pt x="943179" y="3497581"/>
                </a:cubicBezTo>
                <a:cubicBezTo>
                  <a:pt x="943179" y="3618695"/>
                  <a:pt x="904409" y="3696153"/>
                  <a:pt x="846254" y="3736878"/>
                </a:cubicBezTo>
                <a:cubicBezTo>
                  <a:pt x="808462" y="3761068"/>
                  <a:pt x="761955" y="3773692"/>
                  <a:pt x="714470" y="3773692"/>
                </a:cubicBezTo>
                <a:cubicBezTo>
                  <a:pt x="666985" y="3773692"/>
                  <a:pt x="618523" y="3762045"/>
                  <a:pt x="582686" y="3736878"/>
                </a:cubicBezTo>
                <a:cubicBezTo>
                  <a:pt x="523554" y="3696234"/>
                  <a:pt x="484784" y="3618695"/>
                  <a:pt x="484784" y="3497581"/>
                </a:cubicBezTo>
                <a:cubicBezTo>
                  <a:pt x="484784" y="3375489"/>
                  <a:pt x="523554" y="3298031"/>
                  <a:pt x="582686" y="3257306"/>
                </a:cubicBezTo>
                <a:cubicBezTo>
                  <a:pt x="619500" y="3233116"/>
                  <a:pt x="667963" y="3219514"/>
                  <a:pt x="714470" y="3219514"/>
                </a:cubicBezTo>
                <a:close/>
                <a:moveTo>
                  <a:pt x="203297" y="3219514"/>
                </a:moveTo>
                <a:cubicBezTo>
                  <a:pt x="406593" y="3219514"/>
                  <a:pt x="407571" y="3326049"/>
                  <a:pt x="407571" y="3387054"/>
                </a:cubicBezTo>
                <a:cubicBezTo>
                  <a:pt x="407571" y="3387054"/>
                  <a:pt x="407571" y="3387054"/>
                  <a:pt x="407571" y="3737692"/>
                </a:cubicBezTo>
                <a:cubicBezTo>
                  <a:pt x="407571" y="3746407"/>
                  <a:pt x="406593" y="3756100"/>
                  <a:pt x="396819" y="3757973"/>
                </a:cubicBezTo>
                <a:cubicBezTo>
                  <a:pt x="396819" y="3757973"/>
                  <a:pt x="396819" y="3757973"/>
                  <a:pt x="340701" y="3757973"/>
                </a:cubicBezTo>
                <a:cubicBezTo>
                  <a:pt x="323271" y="3757973"/>
                  <a:pt x="317488" y="3756018"/>
                  <a:pt x="317488" y="3737611"/>
                </a:cubicBezTo>
                <a:cubicBezTo>
                  <a:pt x="317488" y="3737611"/>
                  <a:pt x="317488" y="3737611"/>
                  <a:pt x="317488" y="3398620"/>
                </a:cubicBezTo>
                <a:cubicBezTo>
                  <a:pt x="317488" y="3351136"/>
                  <a:pt x="317488" y="3274655"/>
                  <a:pt x="199387" y="3274655"/>
                </a:cubicBezTo>
                <a:cubicBezTo>
                  <a:pt x="128689" y="3274655"/>
                  <a:pt x="90001" y="3297868"/>
                  <a:pt x="90001" y="3320185"/>
                </a:cubicBezTo>
                <a:cubicBezTo>
                  <a:pt x="90001" y="3320185"/>
                  <a:pt x="90001" y="3320185"/>
                  <a:pt x="90001" y="3737611"/>
                </a:cubicBezTo>
                <a:cubicBezTo>
                  <a:pt x="90001" y="3756018"/>
                  <a:pt x="83241" y="3757973"/>
                  <a:pt x="68743" y="3757973"/>
                </a:cubicBezTo>
                <a:cubicBezTo>
                  <a:pt x="68743" y="3757973"/>
                  <a:pt x="68743" y="3757973"/>
                  <a:pt x="18407" y="3757973"/>
                </a:cubicBezTo>
                <a:cubicBezTo>
                  <a:pt x="3910" y="3757973"/>
                  <a:pt x="0" y="3756018"/>
                  <a:pt x="0" y="3739565"/>
                </a:cubicBezTo>
                <a:cubicBezTo>
                  <a:pt x="0" y="3739565"/>
                  <a:pt x="0" y="3739565"/>
                  <a:pt x="0" y="3286302"/>
                </a:cubicBezTo>
                <a:cubicBezTo>
                  <a:pt x="0" y="3268872"/>
                  <a:pt x="11647" y="3256329"/>
                  <a:pt x="45530" y="3244682"/>
                </a:cubicBezTo>
                <a:cubicBezTo>
                  <a:pt x="74526" y="3235967"/>
                  <a:pt x="125839" y="3219514"/>
                  <a:pt x="203297" y="3219514"/>
                </a:cubicBezTo>
                <a:close/>
                <a:moveTo>
                  <a:pt x="3838118" y="3043502"/>
                </a:moveTo>
                <a:cubicBezTo>
                  <a:pt x="3838118" y="3043502"/>
                  <a:pt x="3838118" y="3043502"/>
                  <a:pt x="3888290" y="3043502"/>
                </a:cubicBezTo>
                <a:cubicBezTo>
                  <a:pt x="3901811" y="3043502"/>
                  <a:pt x="3907594" y="3044479"/>
                  <a:pt x="3907594" y="3063864"/>
                </a:cubicBezTo>
                <a:cubicBezTo>
                  <a:pt x="3907594" y="3063864"/>
                  <a:pt x="3907594" y="3063864"/>
                  <a:pt x="3907594" y="3702017"/>
                </a:cubicBezTo>
                <a:cubicBezTo>
                  <a:pt x="3907594" y="3736877"/>
                  <a:pt x="3802443" y="3773692"/>
                  <a:pt x="3728162" y="3773529"/>
                </a:cubicBezTo>
                <a:cubicBezTo>
                  <a:pt x="3573816" y="3773529"/>
                  <a:pt x="3472575" y="3683528"/>
                  <a:pt x="3472575" y="3497580"/>
                </a:cubicBezTo>
                <a:cubicBezTo>
                  <a:pt x="3472575" y="3372719"/>
                  <a:pt x="3552639" y="3222608"/>
                  <a:pt x="3709836" y="3222608"/>
                </a:cubicBezTo>
                <a:cubicBezTo>
                  <a:pt x="3757076" y="3222608"/>
                  <a:pt x="3787945" y="3234256"/>
                  <a:pt x="3819792" y="3250708"/>
                </a:cubicBezTo>
                <a:cubicBezTo>
                  <a:pt x="3819792" y="3250708"/>
                  <a:pt x="3819792" y="3250708"/>
                  <a:pt x="3819792" y="3066715"/>
                </a:cubicBezTo>
                <a:cubicBezTo>
                  <a:pt x="3819792" y="3049285"/>
                  <a:pt x="3820769" y="3043502"/>
                  <a:pt x="3838118" y="3043502"/>
                </a:cubicBezTo>
                <a:close/>
                <a:moveTo>
                  <a:pt x="4634688" y="3041629"/>
                </a:moveTo>
                <a:cubicBezTo>
                  <a:pt x="4634688" y="3041629"/>
                  <a:pt x="4634688" y="3041629"/>
                  <a:pt x="4688037" y="3041629"/>
                </a:cubicBezTo>
                <a:cubicBezTo>
                  <a:pt x="4699684" y="3041629"/>
                  <a:pt x="4706445" y="3041629"/>
                  <a:pt x="4706445" y="3056127"/>
                </a:cubicBezTo>
                <a:cubicBezTo>
                  <a:pt x="4706445" y="3056127"/>
                  <a:pt x="4706445" y="3056127"/>
                  <a:pt x="4706445" y="3742578"/>
                </a:cubicBezTo>
                <a:cubicBezTo>
                  <a:pt x="4706445" y="3757076"/>
                  <a:pt x="4700580" y="3757076"/>
                  <a:pt x="4688037" y="3757076"/>
                </a:cubicBezTo>
                <a:cubicBezTo>
                  <a:pt x="4688037" y="3757076"/>
                  <a:pt x="4688037" y="3757076"/>
                  <a:pt x="4634688" y="3757076"/>
                </a:cubicBezTo>
                <a:cubicBezTo>
                  <a:pt x="4621086" y="3757076"/>
                  <a:pt x="4618154" y="3755122"/>
                  <a:pt x="4618154" y="3741601"/>
                </a:cubicBezTo>
                <a:cubicBezTo>
                  <a:pt x="4618154" y="3741601"/>
                  <a:pt x="4618154" y="3741601"/>
                  <a:pt x="4618154" y="3058082"/>
                </a:cubicBezTo>
                <a:cubicBezTo>
                  <a:pt x="4618154" y="3043584"/>
                  <a:pt x="4624018" y="3041629"/>
                  <a:pt x="4634688" y="3041629"/>
                </a:cubicBezTo>
                <a:close/>
                <a:moveTo>
                  <a:pt x="4074727" y="3035765"/>
                </a:moveTo>
                <a:cubicBezTo>
                  <a:pt x="4101605" y="3035765"/>
                  <a:pt x="4125551" y="3056046"/>
                  <a:pt x="4127506" y="3086019"/>
                </a:cubicBezTo>
                <a:cubicBezTo>
                  <a:pt x="4128483" y="3114933"/>
                  <a:pt x="4107307" y="3141974"/>
                  <a:pt x="4072772" y="3142952"/>
                </a:cubicBezTo>
                <a:cubicBezTo>
                  <a:pt x="4039215" y="3142952"/>
                  <a:pt x="4019016" y="3118843"/>
                  <a:pt x="4019016" y="3089847"/>
                </a:cubicBezTo>
                <a:cubicBezTo>
                  <a:pt x="4019016" y="3058978"/>
                  <a:pt x="4042066" y="3035765"/>
                  <a:pt x="4074727" y="3035765"/>
                </a:cubicBezTo>
                <a:close/>
                <a:moveTo>
                  <a:pt x="5090721" y="2888260"/>
                </a:moveTo>
                <a:lnTo>
                  <a:pt x="5090721" y="2940551"/>
                </a:lnTo>
                <a:cubicBezTo>
                  <a:pt x="5090721" y="2940551"/>
                  <a:pt x="5090721" y="2940551"/>
                  <a:pt x="5125500" y="2940551"/>
                </a:cubicBezTo>
                <a:cubicBezTo>
                  <a:pt x="5138043" y="2940551"/>
                  <a:pt x="5166061" y="2940551"/>
                  <a:pt x="5166061" y="2914405"/>
                </a:cubicBezTo>
                <a:cubicBezTo>
                  <a:pt x="5166061" y="2888260"/>
                  <a:pt x="5139020" y="2888260"/>
                  <a:pt x="5122567" y="2888260"/>
                </a:cubicBezTo>
                <a:cubicBezTo>
                  <a:pt x="5122567" y="2888260"/>
                  <a:pt x="5122567" y="2888260"/>
                  <a:pt x="5090721" y="2888260"/>
                </a:cubicBezTo>
                <a:close/>
                <a:moveTo>
                  <a:pt x="5063680" y="2863988"/>
                </a:moveTo>
                <a:cubicBezTo>
                  <a:pt x="5063680" y="2863988"/>
                  <a:pt x="5063680" y="2863988"/>
                  <a:pt x="5125500" y="2863988"/>
                </a:cubicBezTo>
                <a:cubicBezTo>
                  <a:pt x="5144885" y="2863988"/>
                  <a:pt x="5168016" y="2863988"/>
                  <a:pt x="5182514" y="2877591"/>
                </a:cubicBezTo>
                <a:cubicBezTo>
                  <a:pt x="5192206" y="2884351"/>
                  <a:pt x="5198966" y="2896975"/>
                  <a:pt x="5198966" y="2911473"/>
                </a:cubicBezTo>
                <a:cubicBezTo>
                  <a:pt x="5198966" y="2926745"/>
                  <a:pt x="5191361" y="2945820"/>
                  <a:pt x="5172474" y="2955227"/>
                </a:cubicBezTo>
                <a:lnTo>
                  <a:pt x="5151671" y="2960419"/>
                </a:lnTo>
                <a:lnTo>
                  <a:pt x="5149690" y="2958958"/>
                </a:lnTo>
                <a:cubicBezTo>
                  <a:pt x="5149690" y="2960913"/>
                  <a:pt x="5149690" y="2960913"/>
                  <a:pt x="5149690" y="2960913"/>
                </a:cubicBezTo>
                <a:lnTo>
                  <a:pt x="5151671" y="2960419"/>
                </a:lnTo>
                <a:lnTo>
                  <a:pt x="5165114" y="2970330"/>
                </a:lnTo>
                <a:cubicBezTo>
                  <a:pt x="5171152" y="2976632"/>
                  <a:pt x="5178645" y="2986569"/>
                  <a:pt x="5189274" y="3003510"/>
                </a:cubicBezTo>
                <a:cubicBezTo>
                  <a:pt x="5189274" y="3003510"/>
                  <a:pt x="5189274" y="3003510"/>
                  <a:pt x="5210532" y="3038371"/>
                </a:cubicBezTo>
                <a:cubicBezTo>
                  <a:pt x="5210532" y="3038371"/>
                  <a:pt x="5210532" y="3038371"/>
                  <a:pt x="5176731" y="3038371"/>
                </a:cubicBezTo>
                <a:cubicBezTo>
                  <a:pt x="5176731" y="3038371"/>
                  <a:pt x="5176731" y="3038371"/>
                  <a:pt x="5161256" y="3011248"/>
                </a:cubicBezTo>
                <a:cubicBezTo>
                  <a:pt x="5140975" y="2973456"/>
                  <a:pt x="5132341" y="2964741"/>
                  <a:pt x="5109128" y="2964741"/>
                </a:cubicBezTo>
                <a:cubicBezTo>
                  <a:pt x="5109128" y="2964741"/>
                  <a:pt x="5109128" y="2964741"/>
                  <a:pt x="5092676" y="2964741"/>
                </a:cubicBezTo>
                <a:cubicBezTo>
                  <a:pt x="5092676" y="2964741"/>
                  <a:pt x="5092676" y="2964741"/>
                  <a:pt x="5092676" y="3039348"/>
                </a:cubicBezTo>
                <a:cubicBezTo>
                  <a:pt x="5092676" y="3039348"/>
                  <a:pt x="5092676" y="3039348"/>
                  <a:pt x="5063680" y="3039348"/>
                </a:cubicBezTo>
                <a:lnTo>
                  <a:pt x="5063680" y="2863988"/>
                </a:lnTo>
                <a:close/>
                <a:moveTo>
                  <a:pt x="5132260" y="2815608"/>
                </a:moveTo>
                <a:cubicBezTo>
                  <a:pt x="5056920" y="2815608"/>
                  <a:pt x="4997055" y="2875636"/>
                  <a:pt x="4998032" y="2950243"/>
                </a:cubicBezTo>
                <a:cubicBezTo>
                  <a:pt x="4998032" y="3024850"/>
                  <a:pt x="5057897" y="3086833"/>
                  <a:pt x="5132260" y="3086833"/>
                </a:cubicBezTo>
                <a:cubicBezTo>
                  <a:pt x="5207600" y="3086833"/>
                  <a:pt x="5267465" y="3024850"/>
                  <a:pt x="5267465" y="2950243"/>
                </a:cubicBezTo>
                <a:cubicBezTo>
                  <a:pt x="5267465" y="2875636"/>
                  <a:pt x="5206623" y="2815608"/>
                  <a:pt x="5132260" y="2815608"/>
                </a:cubicBezTo>
                <a:close/>
                <a:moveTo>
                  <a:pt x="5132260" y="2787508"/>
                </a:moveTo>
                <a:cubicBezTo>
                  <a:pt x="5221121" y="2787508"/>
                  <a:pt x="5293529" y="2861138"/>
                  <a:pt x="5293529" y="2950243"/>
                </a:cubicBezTo>
                <a:cubicBezTo>
                  <a:pt x="5293529" y="3039348"/>
                  <a:pt x="5222098" y="3112978"/>
                  <a:pt x="5132260" y="3112978"/>
                </a:cubicBezTo>
                <a:cubicBezTo>
                  <a:pt x="5043399" y="3112978"/>
                  <a:pt x="4970991" y="3041303"/>
                  <a:pt x="4970991" y="2950243"/>
                </a:cubicBezTo>
                <a:cubicBezTo>
                  <a:pt x="4970991" y="2860161"/>
                  <a:pt x="5043399" y="2787508"/>
                  <a:pt x="5132260" y="2787508"/>
                </a:cubicBezTo>
                <a:close/>
                <a:moveTo>
                  <a:pt x="3521882" y="1731870"/>
                </a:moveTo>
                <a:cubicBezTo>
                  <a:pt x="3517412" y="1732236"/>
                  <a:pt x="3513788" y="1735148"/>
                  <a:pt x="3513299" y="1740971"/>
                </a:cubicBezTo>
                <a:cubicBezTo>
                  <a:pt x="3502711" y="1879353"/>
                  <a:pt x="3472656" y="2044776"/>
                  <a:pt x="3483326" y="2098939"/>
                </a:cubicBezTo>
                <a:cubicBezTo>
                  <a:pt x="3493019" y="2156035"/>
                  <a:pt x="3524947" y="2294417"/>
                  <a:pt x="3531707" y="2354363"/>
                </a:cubicBezTo>
                <a:cubicBezTo>
                  <a:pt x="3537490" y="2401766"/>
                  <a:pt x="3558748" y="2383359"/>
                  <a:pt x="3561680" y="2360146"/>
                </a:cubicBezTo>
                <a:cubicBezTo>
                  <a:pt x="3574305" y="2267294"/>
                  <a:pt x="3594585" y="1799940"/>
                  <a:pt x="3535535" y="1738039"/>
                </a:cubicBezTo>
                <a:cubicBezTo>
                  <a:pt x="3531666" y="1733682"/>
                  <a:pt x="3526352" y="1731503"/>
                  <a:pt x="3521882" y="1731870"/>
                </a:cubicBezTo>
                <a:close/>
                <a:moveTo>
                  <a:pt x="2399078" y="1361664"/>
                </a:moveTo>
                <a:cubicBezTo>
                  <a:pt x="2403884" y="1433257"/>
                  <a:pt x="2404861" y="1541584"/>
                  <a:pt x="2416508" y="1600635"/>
                </a:cubicBezTo>
                <a:cubicBezTo>
                  <a:pt x="2427178" y="1650970"/>
                  <a:pt x="2446481" y="1653821"/>
                  <a:pt x="2465866" y="1656753"/>
                </a:cubicBezTo>
                <a:cubicBezTo>
                  <a:pt x="2535586" y="1667341"/>
                  <a:pt x="2780422" y="1678011"/>
                  <a:pt x="2834667" y="1622870"/>
                </a:cubicBezTo>
                <a:cubicBezTo>
                  <a:pt x="2868550" y="1588988"/>
                  <a:pt x="2871482" y="1469013"/>
                  <a:pt x="2847292" y="1377139"/>
                </a:cubicBezTo>
                <a:cubicBezTo>
                  <a:pt x="2699217" y="1385854"/>
                  <a:pt x="2548211" y="1382026"/>
                  <a:pt x="2399078" y="1361664"/>
                </a:cubicBezTo>
                <a:close/>
                <a:moveTo>
                  <a:pt x="3181232" y="1337473"/>
                </a:moveTo>
                <a:cubicBezTo>
                  <a:pt x="3143521" y="1341383"/>
                  <a:pt x="3107684" y="1346188"/>
                  <a:pt x="3073720" y="1351971"/>
                </a:cubicBezTo>
                <a:cubicBezTo>
                  <a:pt x="3112489" y="1408089"/>
                  <a:pt x="3134725" y="1470968"/>
                  <a:pt x="3136680" y="1554209"/>
                </a:cubicBezTo>
                <a:cubicBezTo>
                  <a:pt x="3148327" y="1559014"/>
                  <a:pt x="3202490" y="1536779"/>
                  <a:pt x="3214137" y="1498091"/>
                </a:cubicBezTo>
                <a:cubicBezTo>
                  <a:pt x="3225785" y="1459402"/>
                  <a:pt x="3222853" y="1414850"/>
                  <a:pt x="3181232" y="1337473"/>
                </a:cubicBezTo>
                <a:close/>
                <a:moveTo>
                  <a:pt x="2027427" y="1281436"/>
                </a:moveTo>
                <a:cubicBezTo>
                  <a:pt x="2015779" y="1373311"/>
                  <a:pt x="1996476" y="1485547"/>
                  <a:pt x="1976114" y="1551358"/>
                </a:cubicBezTo>
                <a:cubicBezTo>
                  <a:pt x="1955752" y="1617087"/>
                  <a:pt x="2012847" y="1611305"/>
                  <a:pt x="2039074" y="1600716"/>
                </a:cubicBezTo>
                <a:cubicBezTo>
                  <a:pt x="2072957" y="1587114"/>
                  <a:pt x="2137790" y="1528145"/>
                  <a:pt x="2170695" y="1320125"/>
                </a:cubicBezTo>
                <a:cubicBezTo>
                  <a:pt x="2123292" y="1308559"/>
                  <a:pt x="2074830" y="1295934"/>
                  <a:pt x="2027427" y="1281436"/>
                </a:cubicBezTo>
                <a:close/>
                <a:moveTo>
                  <a:pt x="1861627" y="1228363"/>
                </a:moveTo>
                <a:cubicBezTo>
                  <a:pt x="1845287" y="1227273"/>
                  <a:pt x="1838262" y="1235011"/>
                  <a:pt x="1826166" y="1251463"/>
                </a:cubicBezTo>
                <a:cubicBezTo>
                  <a:pt x="1649992" y="1491412"/>
                  <a:pt x="1614155" y="1621974"/>
                  <a:pt x="1629630" y="1719713"/>
                </a:cubicBezTo>
                <a:cubicBezTo>
                  <a:pt x="1645105" y="1817452"/>
                  <a:pt x="1728346" y="1916087"/>
                  <a:pt x="1853207" y="1989635"/>
                </a:cubicBezTo>
                <a:cubicBezTo>
                  <a:pt x="1977091" y="2061228"/>
                  <a:pt x="2054549" y="2102849"/>
                  <a:pt x="2138767" y="2194723"/>
                </a:cubicBezTo>
                <a:cubicBezTo>
                  <a:pt x="2149437" y="2205393"/>
                  <a:pt x="2161003" y="2208244"/>
                  <a:pt x="2163935" y="2187963"/>
                </a:cubicBezTo>
                <a:cubicBezTo>
                  <a:pt x="2207510" y="1906475"/>
                  <a:pt x="2443712" y="1864855"/>
                  <a:pt x="2751508" y="1870638"/>
                </a:cubicBezTo>
                <a:cubicBezTo>
                  <a:pt x="3185142" y="1877398"/>
                  <a:pt x="3268383" y="2019608"/>
                  <a:pt x="3321650" y="1997372"/>
                </a:cubicBezTo>
                <a:cubicBezTo>
                  <a:pt x="3373859" y="1972205"/>
                  <a:pt x="3408719" y="1752618"/>
                  <a:pt x="3418411" y="1597784"/>
                </a:cubicBezTo>
                <a:cubicBezTo>
                  <a:pt x="3429081" y="1440995"/>
                  <a:pt x="3438774" y="1314260"/>
                  <a:pt x="3245170" y="1329736"/>
                </a:cubicBezTo>
                <a:cubicBezTo>
                  <a:pt x="3291677" y="1423565"/>
                  <a:pt x="3299415" y="1527086"/>
                  <a:pt x="3215196" y="1586137"/>
                </a:cubicBezTo>
                <a:cubicBezTo>
                  <a:pt x="3130001" y="1645107"/>
                  <a:pt x="3068996" y="1616110"/>
                  <a:pt x="3068996" y="1560969"/>
                </a:cubicBezTo>
                <a:cubicBezTo>
                  <a:pt x="3068996" y="1511611"/>
                  <a:pt x="3061258" y="1433257"/>
                  <a:pt x="2999275" y="1361664"/>
                </a:cubicBezTo>
                <a:cubicBezTo>
                  <a:pt x="2970279" y="1365573"/>
                  <a:pt x="2946008" y="1368425"/>
                  <a:pt x="2916034" y="1371356"/>
                </a:cubicBezTo>
                <a:cubicBezTo>
                  <a:pt x="2934442" y="1455574"/>
                  <a:pt x="2956677" y="1611305"/>
                  <a:pt x="2891844" y="1675160"/>
                </a:cubicBezTo>
                <a:cubicBezTo>
                  <a:pt x="2827988" y="1738039"/>
                  <a:pt x="2646031" y="1743822"/>
                  <a:pt x="2458210" y="1729324"/>
                </a:cubicBezTo>
                <a:cubicBezTo>
                  <a:pt x="2422454" y="1726473"/>
                  <a:pt x="2377901" y="1711894"/>
                  <a:pt x="2359494" y="1667423"/>
                </a:cubicBezTo>
                <a:cubicBezTo>
                  <a:pt x="2349801" y="1646165"/>
                  <a:pt x="2335304" y="1592001"/>
                  <a:pt x="2331394" y="1352053"/>
                </a:cubicBezTo>
                <a:cubicBezTo>
                  <a:pt x="2298489" y="1347247"/>
                  <a:pt x="2272344" y="1343338"/>
                  <a:pt x="2240416" y="1335600"/>
                </a:cubicBezTo>
                <a:cubicBezTo>
                  <a:pt x="2206533" y="1566833"/>
                  <a:pt x="2129075" y="1652029"/>
                  <a:pt x="2047789" y="1672310"/>
                </a:cubicBezTo>
                <a:cubicBezTo>
                  <a:pt x="1965525" y="1692591"/>
                  <a:pt x="1872592" y="1673287"/>
                  <a:pt x="1890022" y="1590046"/>
                </a:cubicBezTo>
                <a:cubicBezTo>
                  <a:pt x="1905579" y="1508842"/>
                  <a:pt x="1946222" y="1417863"/>
                  <a:pt x="1952982" y="1258223"/>
                </a:cubicBezTo>
                <a:cubicBezTo>
                  <a:pt x="1903624" y="1239368"/>
                  <a:pt x="1877968" y="1229452"/>
                  <a:pt x="1861627" y="1228363"/>
                </a:cubicBezTo>
                <a:close/>
                <a:moveTo>
                  <a:pt x="1399134" y="1118588"/>
                </a:moveTo>
                <a:cubicBezTo>
                  <a:pt x="1413653" y="1118712"/>
                  <a:pt x="1424399" y="1121125"/>
                  <a:pt x="1426089" y="1125706"/>
                </a:cubicBezTo>
                <a:cubicBezTo>
                  <a:pt x="1432850" y="1143055"/>
                  <a:pt x="1350749" y="1243237"/>
                  <a:pt x="1309210" y="1182557"/>
                </a:cubicBezTo>
                <a:cubicBezTo>
                  <a:pt x="1278056" y="1138453"/>
                  <a:pt x="1355575" y="1118218"/>
                  <a:pt x="1399134" y="1118588"/>
                </a:cubicBezTo>
                <a:close/>
                <a:moveTo>
                  <a:pt x="1371072" y="997014"/>
                </a:moveTo>
                <a:cubicBezTo>
                  <a:pt x="1359077" y="999506"/>
                  <a:pt x="1348367" y="1005671"/>
                  <a:pt x="1337228" y="1015343"/>
                </a:cubicBezTo>
                <a:cubicBezTo>
                  <a:pt x="1297481" y="1051099"/>
                  <a:pt x="1255861" y="1106240"/>
                  <a:pt x="1249101" y="1124647"/>
                </a:cubicBezTo>
                <a:cubicBezTo>
                  <a:pt x="1241363" y="1142973"/>
                  <a:pt x="1246169" y="1186548"/>
                  <a:pt x="1228738" y="1209761"/>
                </a:cubicBezTo>
                <a:cubicBezTo>
                  <a:pt x="1213263" y="1232078"/>
                  <a:pt x="1172620" y="1285264"/>
                  <a:pt x="1172620" y="1285264"/>
                </a:cubicBezTo>
                <a:cubicBezTo>
                  <a:pt x="1138737" y="1328758"/>
                  <a:pt x="1154213" y="1331690"/>
                  <a:pt x="1192005" y="1377139"/>
                </a:cubicBezTo>
                <a:cubicBezTo>
                  <a:pt x="1225888" y="1418759"/>
                  <a:pt x="1304323" y="1363618"/>
                  <a:pt x="1395301" y="1435212"/>
                </a:cubicBezTo>
                <a:cubicBezTo>
                  <a:pt x="1441727" y="1472027"/>
                  <a:pt x="1496950" y="1606499"/>
                  <a:pt x="1537593" y="1660663"/>
                </a:cubicBezTo>
                <a:cubicBezTo>
                  <a:pt x="1567566" y="1468117"/>
                  <a:pt x="1688599" y="1311410"/>
                  <a:pt x="1724437" y="1252359"/>
                </a:cubicBezTo>
                <a:cubicBezTo>
                  <a:pt x="1782591" y="1160485"/>
                  <a:pt x="1730301" y="1181743"/>
                  <a:pt x="1559910" y="1078221"/>
                </a:cubicBezTo>
                <a:cubicBezTo>
                  <a:pt x="1454597" y="1015119"/>
                  <a:pt x="1407056" y="989539"/>
                  <a:pt x="1371072" y="997014"/>
                </a:cubicBezTo>
                <a:close/>
                <a:moveTo>
                  <a:pt x="1141364" y="538266"/>
                </a:moveTo>
                <a:cubicBezTo>
                  <a:pt x="1149591" y="536566"/>
                  <a:pt x="1159996" y="549618"/>
                  <a:pt x="1168711" y="573319"/>
                </a:cubicBezTo>
                <a:cubicBezTo>
                  <a:pt x="1186141" y="620724"/>
                  <a:pt x="1261644" y="810336"/>
                  <a:pt x="1458180" y="879976"/>
                </a:cubicBezTo>
                <a:cubicBezTo>
                  <a:pt x="1653658" y="950591"/>
                  <a:pt x="1828936" y="893495"/>
                  <a:pt x="1951842" y="790951"/>
                </a:cubicBezTo>
                <a:cubicBezTo>
                  <a:pt x="1997372" y="754137"/>
                  <a:pt x="2012847" y="775476"/>
                  <a:pt x="1971227" y="843160"/>
                </a:cubicBezTo>
                <a:cubicBezTo>
                  <a:pt x="1916982" y="932102"/>
                  <a:pt x="1828936" y="982437"/>
                  <a:pt x="1727287" y="1038556"/>
                </a:cubicBezTo>
                <a:cubicBezTo>
                  <a:pt x="1707007" y="1050203"/>
                  <a:pt x="1682816" y="1059895"/>
                  <a:pt x="1730219" y="1081153"/>
                </a:cubicBezTo>
                <a:cubicBezTo>
                  <a:pt x="2001200" y="1207888"/>
                  <a:pt x="2355503" y="1296912"/>
                  <a:pt x="2670140" y="1296912"/>
                </a:cubicBezTo>
                <a:cubicBezTo>
                  <a:pt x="2903410" y="1296912"/>
                  <a:pt x="3129919" y="1261156"/>
                  <a:pt x="3249975" y="1252441"/>
                </a:cubicBezTo>
                <a:cubicBezTo>
                  <a:pt x="3365144" y="1243725"/>
                  <a:pt x="3584893" y="1251463"/>
                  <a:pt x="3637183" y="1503955"/>
                </a:cubicBezTo>
                <a:cubicBezTo>
                  <a:pt x="3674976" y="1683876"/>
                  <a:pt x="3672043" y="2208244"/>
                  <a:pt x="3670170" y="2709725"/>
                </a:cubicBezTo>
                <a:cubicBezTo>
                  <a:pt x="3670170" y="2744585"/>
                  <a:pt x="3673021" y="2765843"/>
                  <a:pt x="3632378" y="2765843"/>
                </a:cubicBezTo>
                <a:cubicBezTo>
                  <a:pt x="3502630" y="2764866"/>
                  <a:pt x="3497824" y="2770649"/>
                  <a:pt x="3486177" y="2803554"/>
                </a:cubicBezTo>
                <a:cubicBezTo>
                  <a:pt x="3466873" y="2856740"/>
                  <a:pt x="3461987" y="2883863"/>
                  <a:pt x="3447489" y="2939981"/>
                </a:cubicBezTo>
                <a:cubicBezTo>
                  <a:pt x="3435841" y="2985429"/>
                  <a:pt x="3427127" y="3001882"/>
                  <a:pt x="3397153" y="3001882"/>
                </a:cubicBezTo>
                <a:cubicBezTo>
                  <a:pt x="3363271" y="3001882"/>
                  <a:pt x="3249975" y="3001882"/>
                  <a:pt x="3235477" y="3001882"/>
                </a:cubicBezTo>
                <a:cubicBezTo>
                  <a:pt x="3209332" y="3001882"/>
                  <a:pt x="3196789" y="2971909"/>
                  <a:pt x="3218047" y="2932243"/>
                </a:cubicBezTo>
                <a:cubicBezTo>
                  <a:pt x="3426231" y="2557822"/>
                  <a:pt x="3409778" y="2267620"/>
                  <a:pt x="3288745" y="2107980"/>
                </a:cubicBezTo>
                <a:cubicBezTo>
                  <a:pt x="3250057" y="2255973"/>
                  <a:pt x="3233604" y="2320806"/>
                  <a:pt x="3214219" y="2335304"/>
                </a:cubicBezTo>
                <a:cubicBezTo>
                  <a:pt x="2963519" y="2524917"/>
                  <a:pt x="2835726" y="2929311"/>
                  <a:pt x="2825056" y="2961239"/>
                </a:cubicBezTo>
                <a:cubicBezTo>
                  <a:pt x="2813490" y="2991213"/>
                  <a:pt x="2797934" y="3002860"/>
                  <a:pt x="2759245" y="3002860"/>
                </a:cubicBezTo>
                <a:cubicBezTo>
                  <a:pt x="2733100" y="3002860"/>
                  <a:pt x="2605307" y="3002860"/>
                  <a:pt x="2580139" y="3002860"/>
                </a:cubicBezTo>
                <a:cubicBezTo>
                  <a:pt x="2528826" y="3002860"/>
                  <a:pt x="2531758" y="2966126"/>
                  <a:pt x="2562709" y="2931266"/>
                </a:cubicBezTo>
                <a:cubicBezTo>
                  <a:pt x="2841509" y="2633244"/>
                  <a:pt x="2912206" y="2521985"/>
                  <a:pt x="2993492" y="2268516"/>
                </a:cubicBezTo>
                <a:cubicBezTo>
                  <a:pt x="3076815" y="2014070"/>
                  <a:pt x="2883210" y="1933761"/>
                  <a:pt x="2736032" y="2066278"/>
                </a:cubicBezTo>
                <a:cubicBezTo>
                  <a:pt x="2352734" y="1891163"/>
                  <a:pt x="2251085" y="2119465"/>
                  <a:pt x="2273321" y="2247176"/>
                </a:cubicBezTo>
                <a:cubicBezTo>
                  <a:pt x="2309077" y="2449414"/>
                  <a:pt x="2445585" y="2792803"/>
                  <a:pt x="2454300" y="2955375"/>
                </a:cubicBezTo>
                <a:cubicBezTo>
                  <a:pt x="2457233" y="2996018"/>
                  <a:pt x="2421395" y="3004733"/>
                  <a:pt x="2399160" y="3004733"/>
                </a:cubicBezTo>
                <a:cubicBezTo>
                  <a:pt x="2379775" y="3004733"/>
                  <a:pt x="2229746" y="3004733"/>
                  <a:pt x="2229746" y="3004733"/>
                </a:cubicBezTo>
                <a:cubicBezTo>
                  <a:pt x="2176478" y="3004733"/>
                  <a:pt x="2197736" y="2954397"/>
                  <a:pt x="2201646" y="2931184"/>
                </a:cubicBezTo>
                <a:cubicBezTo>
                  <a:pt x="2287819" y="2514166"/>
                  <a:pt x="2111645" y="2276172"/>
                  <a:pt x="1934493" y="2164913"/>
                </a:cubicBezTo>
                <a:cubicBezTo>
                  <a:pt x="1828936" y="2242289"/>
                  <a:pt x="1688599" y="2697996"/>
                  <a:pt x="1671169" y="2946660"/>
                </a:cubicBezTo>
                <a:cubicBezTo>
                  <a:pt x="1669214" y="2975656"/>
                  <a:pt x="1653739" y="3002778"/>
                  <a:pt x="1628571" y="3002778"/>
                </a:cubicBezTo>
                <a:cubicBezTo>
                  <a:pt x="1605277" y="3002778"/>
                  <a:pt x="1467872" y="3002778"/>
                  <a:pt x="1431058" y="3002778"/>
                </a:cubicBezTo>
                <a:cubicBezTo>
                  <a:pt x="1399130" y="3002778"/>
                  <a:pt x="1393347" y="2967022"/>
                  <a:pt x="1417537" y="2924424"/>
                </a:cubicBezTo>
                <a:cubicBezTo>
                  <a:pt x="1519185" y="2741571"/>
                  <a:pt x="1677929" y="2454219"/>
                  <a:pt x="1674997" y="2150415"/>
                </a:cubicBezTo>
                <a:cubicBezTo>
                  <a:pt x="1674997" y="2116614"/>
                  <a:pt x="1674997" y="2011137"/>
                  <a:pt x="1626616" y="1954042"/>
                </a:cubicBezTo>
                <a:cubicBezTo>
                  <a:pt x="1518208" y="1824457"/>
                  <a:pt x="1458180" y="1667667"/>
                  <a:pt x="1402062" y="1567078"/>
                </a:cubicBezTo>
                <a:cubicBezTo>
                  <a:pt x="1363374" y="1498335"/>
                  <a:pt x="1314911" y="1475122"/>
                  <a:pt x="1276223" y="1468362"/>
                </a:cubicBezTo>
                <a:cubicBezTo>
                  <a:pt x="1235580" y="1461520"/>
                  <a:pt x="1204630" y="1472190"/>
                  <a:pt x="1169769" y="1456714"/>
                </a:cubicBezTo>
                <a:cubicBezTo>
                  <a:pt x="1135887" y="1441240"/>
                  <a:pt x="1117479" y="1405402"/>
                  <a:pt x="1090357" y="1374451"/>
                </a:cubicBezTo>
                <a:cubicBezTo>
                  <a:pt x="1067144" y="1349283"/>
                  <a:pt x="1049714" y="1311572"/>
                  <a:pt x="1076836" y="1276712"/>
                </a:cubicBezTo>
                <a:cubicBezTo>
                  <a:pt x="1126194" y="1216684"/>
                  <a:pt x="1157145" y="1180928"/>
                  <a:pt x="1165860" y="1156738"/>
                </a:cubicBezTo>
                <a:cubicBezTo>
                  <a:pt x="1174575" y="1131570"/>
                  <a:pt x="1172620" y="1120901"/>
                  <a:pt x="1174575" y="1098665"/>
                </a:cubicBezTo>
                <a:cubicBezTo>
                  <a:pt x="1175552" y="1078384"/>
                  <a:pt x="1217173" y="1028049"/>
                  <a:pt x="1255861" y="982600"/>
                </a:cubicBezTo>
                <a:cubicBezTo>
                  <a:pt x="1270359" y="965171"/>
                  <a:pt x="1257816" y="935197"/>
                  <a:pt x="1231671" y="905224"/>
                </a:cubicBezTo>
                <a:cubicBezTo>
                  <a:pt x="1204548" y="875169"/>
                  <a:pt x="1127090" y="768797"/>
                  <a:pt x="1127090" y="591727"/>
                </a:cubicBezTo>
                <a:cubicBezTo>
                  <a:pt x="1127090" y="556419"/>
                  <a:pt x="1133138" y="539967"/>
                  <a:pt x="1141364" y="538266"/>
                </a:cubicBezTo>
                <a:close/>
                <a:moveTo>
                  <a:pt x="1650644" y="93748"/>
                </a:moveTo>
                <a:cubicBezTo>
                  <a:pt x="1504525" y="93748"/>
                  <a:pt x="1385447" y="210790"/>
                  <a:pt x="1385447" y="357642"/>
                </a:cubicBezTo>
                <a:cubicBezTo>
                  <a:pt x="1385447" y="503599"/>
                  <a:pt x="1504525" y="621537"/>
                  <a:pt x="1650644" y="621537"/>
                </a:cubicBezTo>
                <a:cubicBezTo>
                  <a:pt x="1796764" y="621537"/>
                  <a:pt x="1913887" y="503599"/>
                  <a:pt x="1913887" y="357642"/>
                </a:cubicBezTo>
                <a:cubicBezTo>
                  <a:pt x="1913887" y="212663"/>
                  <a:pt x="1796764" y="93748"/>
                  <a:pt x="1650644" y="93748"/>
                </a:cubicBezTo>
                <a:close/>
                <a:moveTo>
                  <a:pt x="1639079" y="0"/>
                </a:moveTo>
                <a:cubicBezTo>
                  <a:pt x="1859724" y="0"/>
                  <a:pt x="2036875" y="177884"/>
                  <a:pt x="2036875" y="399263"/>
                </a:cubicBezTo>
                <a:cubicBezTo>
                  <a:pt x="2036875" y="618686"/>
                  <a:pt x="1859724" y="798525"/>
                  <a:pt x="1639079" y="798525"/>
                </a:cubicBezTo>
                <a:cubicBezTo>
                  <a:pt x="1420307" y="798525"/>
                  <a:pt x="1241282" y="620641"/>
                  <a:pt x="1241282" y="399263"/>
                </a:cubicBezTo>
                <a:cubicBezTo>
                  <a:pt x="1241282" y="179839"/>
                  <a:pt x="1418433" y="0"/>
                  <a:pt x="1639079" y="0"/>
                </a:cubicBezTo>
                <a:close/>
              </a:path>
            </a:pathLst>
          </a:custGeom>
          <a:solidFill>
            <a:srgbClr val="001965"/>
          </a:solidFill>
          <a:ln>
            <a:noFill/>
          </a:ln>
          <a:extLst>
            <a:ext uri="{91240B29-F687-4F45-9708-019B960494DF}">
              <a14:hiddenLine xmlns:a14="http://schemas.microsoft.com/office/drawing/2010/main" w="8132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974553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</p:sldLayoutIdLst>
  <p:transition spd="med">
    <p:fade/>
  </p:transition>
  <p:hf sldNum="0" hdr="0" dt="0"/>
  <p:txStyles>
    <p:titleStyle>
      <a:lvl1pPr algn="l" defTabSz="685800" rtl="0" eaLnBrk="0" fontAlgn="base" hangingPunct="0">
        <a:lnSpc>
          <a:spcPts val="2275"/>
        </a:lnSpc>
        <a:spcBef>
          <a:spcPct val="0"/>
        </a:spcBef>
        <a:spcAft>
          <a:spcPct val="0"/>
        </a:spcAft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lnSpc>
          <a:spcPts val="2275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pis For Office"/>
        </a:defRPr>
      </a:lvl2pPr>
      <a:lvl3pPr algn="l" defTabSz="685800" rtl="0" eaLnBrk="0" fontAlgn="base" hangingPunct="0">
        <a:lnSpc>
          <a:spcPts val="2275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pis For Office"/>
        </a:defRPr>
      </a:lvl3pPr>
      <a:lvl4pPr algn="l" defTabSz="685800" rtl="0" eaLnBrk="0" fontAlgn="base" hangingPunct="0">
        <a:lnSpc>
          <a:spcPts val="2275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pis For Office"/>
        </a:defRPr>
      </a:lvl4pPr>
      <a:lvl5pPr algn="l" defTabSz="685800" rtl="0" eaLnBrk="0" fontAlgn="base" hangingPunct="0">
        <a:lnSpc>
          <a:spcPts val="2275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pis For Office"/>
        </a:defRPr>
      </a:lvl5pPr>
      <a:lvl6pPr marL="457200" algn="l" defTabSz="685800" rtl="0" fontAlgn="base">
        <a:lnSpc>
          <a:spcPts val="2275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pis For Office"/>
        </a:defRPr>
      </a:lvl6pPr>
      <a:lvl7pPr marL="914400" algn="l" defTabSz="685800" rtl="0" fontAlgn="base">
        <a:lnSpc>
          <a:spcPts val="2275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pis For Office"/>
        </a:defRPr>
      </a:lvl7pPr>
      <a:lvl8pPr marL="1371600" algn="l" defTabSz="685800" rtl="0" fontAlgn="base">
        <a:lnSpc>
          <a:spcPts val="2275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pis For Office"/>
        </a:defRPr>
      </a:lvl8pPr>
      <a:lvl9pPr marL="1828800" algn="l" defTabSz="685800" rtl="0" fontAlgn="base">
        <a:lnSpc>
          <a:spcPts val="2275"/>
        </a:lnSpc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pis For Office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62" name="Object 8" hidden="1">
            <a:extLst>
              <a:ext uri="{FF2B5EF4-FFF2-40B4-BE49-F238E27FC236}">
                <a16:creationId xmlns:a16="http://schemas.microsoft.com/office/drawing/2014/main" id="{907DAE06-7690-434A-AEEE-8ED2623787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2118" y="1589"/>
          <a:ext cx="2116" cy="3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40962" name="Object 8" hidden="1">
                        <a:extLst>
                          <a:ext uri="{FF2B5EF4-FFF2-40B4-BE49-F238E27FC236}">
                            <a16:creationId xmlns:a16="http://schemas.microsoft.com/office/drawing/2014/main" id="{907DAE06-7690-434A-AEEE-8ED2623787A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3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FBF01316-9B0E-4E31-9B3F-BBDEEA97DCEF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211667" cy="2111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endParaRPr lang="en-US" sz="2400" dirty="0">
              <a:solidFill>
                <a:schemeClr val="tx1"/>
              </a:solidFill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0964" name="Title Placeholder 1">
            <a:extLst>
              <a:ext uri="{FF2B5EF4-FFF2-40B4-BE49-F238E27FC236}">
                <a16:creationId xmlns:a16="http://schemas.microsoft.com/office/drawing/2014/main" id="{043E7F46-9567-43E0-BA95-5622C908AEE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09600" y="163513"/>
            <a:ext cx="10238317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a-DK"/>
              <a:t>Click to edit Master title style</a:t>
            </a:r>
          </a:p>
        </p:txBody>
      </p:sp>
      <p:sp>
        <p:nvSpPr>
          <p:cNvPr id="40965" name="Text Placeholder 2">
            <a:extLst>
              <a:ext uri="{FF2B5EF4-FFF2-40B4-BE49-F238E27FC236}">
                <a16:creationId xmlns:a16="http://schemas.microsoft.com/office/drawing/2014/main" id="{C4F8350B-F0AE-44E6-B863-DDB03E0C47C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371600"/>
            <a:ext cx="10972800" cy="417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a-DK"/>
              <a:t>Edit Master text styles</a:t>
            </a:r>
          </a:p>
          <a:p>
            <a:pPr lvl="1"/>
            <a:r>
              <a:rPr lang="en-US" altLang="da-DK"/>
              <a:t>Second level</a:t>
            </a:r>
          </a:p>
          <a:p>
            <a:pPr lvl="2"/>
            <a:r>
              <a:rPr lang="en-US" altLang="da-DK"/>
              <a:t>Third level</a:t>
            </a:r>
          </a:p>
          <a:p>
            <a:pPr lvl="3"/>
            <a:r>
              <a:rPr lang="en-US" altLang="da-DK"/>
              <a:t>Fourth level</a:t>
            </a:r>
          </a:p>
          <a:p>
            <a:pPr lvl="4"/>
            <a:r>
              <a:rPr lang="en-US" altLang="da-DK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ED913CF-4345-47A2-8F7F-1C8818399D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4418" y="6202364"/>
            <a:ext cx="9450916" cy="484187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 eaLnBrk="1" hangingPunct="1">
              <a:defRPr sz="800" dirty="0">
                <a:solidFill>
                  <a:srgbClr val="5A5A5A"/>
                </a:solidFill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102BFEF-F937-4C93-AC0B-BB92CCD3D3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1851" y="6308726"/>
            <a:ext cx="590549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eaLnBrk="1" hangingPunct="1">
              <a:defRPr sz="1000" smtClean="0">
                <a:solidFill>
                  <a:srgbClr val="5A5A5A"/>
                </a:solidFill>
              </a:defRPr>
            </a:lvl1pPr>
          </a:lstStyle>
          <a:p>
            <a:pPr>
              <a:defRPr/>
            </a:pPr>
            <a:fld id="{C25FDDEA-B877-4B55-BADA-5977364DBEBD}" type="slidenum">
              <a:rPr lang="en-GB"/>
              <a:pPr>
                <a:defRPr/>
              </a:pPr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722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  <p:sldLayoutId id="2147483810" r:id="rId13"/>
    <p:sldLayoutId id="2147483811" r:id="rId14"/>
    <p:sldLayoutId id="2147483812" r:id="rId15"/>
    <p:sldLayoutId id="2147483813" r:id="rId16"/>
    <p:sldLayoutId id="2147483814" r:id="rId17"/>
    <p:sldLayoutId id="2147483816" r:id="rId18"/>
    <p:sldLayoutId id="2147483817" r:id="rId19"/>
  </p:sldLayoutIdLst>
  <p:hf hdr="0" dt="0"/>
  <p:txStyles>
    <p:titleStyle>
      <a:lvl1pPr algn="l" defTabSz="457200" rtl="0" fontAlgn="base">
        <a:spcBef>
          <a:spcPct val="0"/>
        </a:spcBef>
        <a:spcAft>
          <a:spcPct val="0"/>
        </a:spcAft>
        <a:defRPr sz="2400" kern="1200">
          <a:solidFill>
            <a:schemeClr val="accent1"/>
          </a:solidFill>
          <a:latin typeface="Arial"/>
          <a:ea typeface="+mj-ea"/>
          <a:cs typeface="+mj-cs"/>
        </a:defRPr>
      </a:lvl1pPr>
      <a:lvl2pPr algn="l" defTabSz="457200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anose="020B0604020202020204" pitchFamily="34" charset="0"/>
        </a:defRPr>
      </a:lvl2pPr>
      <a:lvl3pPr algn="l" defTabSz="457200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anose="020B0604020202020204" pitchFamily="34" charset="0"/>
        </a:defRPr>
      </a:lvl3pPr>
      <a:lvl4pPr algn="l" defTabSz="457200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anose="020B0604020202020204" pitchFamily="34" charset="0"/>
        </a:defRPr>
      </a:lvl4pPr>
      <a:lvl5pPr algn="l" defTabSz="457200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anose="020B0604020202020204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anose="020B0604020202020204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anose="020B0604020202020204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anose="020B0604020202020204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Arial" panose="020B0604020202020204" pitchFamily="34" charset="0"/>
        </a:defRPr>
      </a:lvl9pPr>
    </p:titleStyle>
    <p:bodyStyle>
      <a:lvl1pPr marL="177800" indent="-177800" algn="l" defTabSz="457200" rtl="0" fontAlgn="base">
        <a:spcBef>
          <a:spcPts val="6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kern="1200">
          <a:solidFill>
            <a:srgbClr val="5A5A5A"/>
          </a:solidFill>
          <a:latin typeface="Arial"/>
          <a:ea typeface="+mn-ea"/>
          <a:cs typeface="+mn-cs"/>
        </a:defRPr>
      </a:lvl1pPr>
      <a:lvl2pPr marL="450850" indent="-273050" algn="l" defTabSz="361950" rtl="0" fontAlgn="base">
        <a:spcBef>
          <a:spcPts val="4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tabLst>
          <a:tab pos="450850" algn="l"/>
        </a:tabLst>
        <a:defRPr kern="1200">
          <a:solidFill>
            <a:srgbClr val="5A5A5A"/>
          </a:solidFill>
          <a:latin typeface="Arial"/>
          <a:ea typeface="+mn-ea"/>
          <a:cs typeface="+mn-cs"/>
        </a:defRPr>
      </a:lvl2pPr>
      <a:lvl3pPr marL="628650" indent="-177800" algn="l" defTabSz="457200" rtl="0" fontAlgn="base">
        <a:spcBef>
          <a:spcPts val="3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tabLst>
          <a:tab pos="628650" algn="l"/>
        </a:tabLst>
        <a:defRPr sz="1600" kern="1200">
          <a:solidFill>
            <a:srgbClr val="5A5A5A"/>
          </a:solidFill>
          <a:latin typeface="Arial"/>
          <a:ea typeface="+mn-ea"/>
          <a:cs typeface="+mn-cs"/>
        </a:defRPr>
      </a:lvl3pPr>
      <a:lvl4pPr marL="895350" indent="-266700" algn="l" defTabSz="457200" rtl="0" fontAlgn="base">
        <a:spcBef>
          <a:spcPts val="3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rgbClr val="5A5A5A"/>
          </a:solidFill>
          <a:latin typeface="Arial"/>
          <a:ea typeface="+mn-ea"/>
          <a:cs typeface="+mn-cs"/>
        </a:defRPr>
      </a:lvl4pPr>
      <a:lvl5pPr marL="1079500" indent="-184150" algn="l" defTabSz="457200" rtl="0" fontAlgn="base">
        <a:spcBef>
          <a:spcPts val="3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»"/>
        <a:tabLst>
          <a:tab pos="1346200" algn="l"/>
        </a:tabLst>
        <a:defRPr sz="1400" kern="1200">
          <a:solidFill>
            <a:srgbClr val="5A5A5A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0953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pitchFamily="34" charset="0"/>
          <a:ea typeface="Arial" charset="0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Arial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Arial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Arial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Arial" charset="0"/>
          <a:cs typeface="Arial" pitchFamily="34" charset="0"/>
        </a:defRPr>
      </a:lvl5pPr>
      <a:lvl6pPr marL="457178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6pPr>
      <a:lvl7pPr marL="914354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7pPr>
      <a:lvl8pPr marL="1371532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8pPr>
      <a:lvl9pPr marL="1828709"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9pPr>
    </p:titleStyle>
    <p:bodyStyle>
      <a:lvl1pPr marL="179380" indent="-179380" algn="l" rtl="0" eaLnBrk="0" fontAlgn="base" hangingPunct="0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•"/>
        <a:defRPr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1pPr>
      <a:lvl2pPr marL="358758" indent="-179380" algn="l" rtl="0" eaLnBrk="0" fontAlgn="base" hangingPunct="0">
        <a:spcBef>
          <a:spcPct val="0"/>
        </a:spcBef>
        <a:spcAft>
          <a:spcPct val="0"/>
        </a:spcAft>
        <a:buFont typeface="Arial" charset="0"/>
        <a:buChar char="-"/>
        <a:defRPr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2pPr>
      <a:lvl3pPr marL="622268" indent="-180966" algn="l" rtl="0" eaLnBrk="0" fontAlgn="base" hangingPunct="0">
        <a:spcBef>
          <a:spcPct val="0"/>
        </a:spcBef>
        <a:spcAft>
          <a:spcPct val="0"/>
        </a:spcAft>
        <a:buFont typeface="Arial" charset="0"/>
        <a:buChar char="•"/>
        <a:defRPr sz="16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3pPr>
      <a:lvl4pPr marL="622268" indent="-179380" algn="l" rtl="0" eaLnBrk="0" fontAlgn="base" hangingPunct="0"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4pPr>
      <a:lvl5pPr marL="622268" indent="-179380" algn="l" rtl="0" eaLnBrk="0" fontAlgn="base" hangingPunct="0"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Arial" pitchFamily="34" charset="0"/>
          <a:ea typeface="Arial" charset="0"/>
          <a:cs typeface="Arial" pitchFamily="34" charset="0"/>
        </a:defRPr>
      </a:lvl5pPr>
      <a:lvl6pPr marL="1620758" indent="-176205" algn="l" rtl="0" eaLnBrk="1" fontAlgn="base" hangingPunct="1"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6pPr>
      <a:lvl7pPr marL="2077935" indent="-176205" algn="l" rtl="0" eaLnBrk="1" fontAlgn="base" hangingPunct="1"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7pPr>
      <a:lvl8pPr marL="2535111" indent="-176205" algn="l" rtl="0" eaLnBrk="1" fontAlgn="base" hangingPunct="1"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8pPr>
      <a:lvl9pPr marL="2992289" indent="-176205" algn="l" rtl="0" eaLnBrk="1" fontAlgn="base" hangingPunct="1">
        <a:spcBef>
          <a:spcPct val="0"/>
        </a:spcBef>
        <a:spcAft>
          <a:spcPct val="0"/>
        </a:spcAft>
        <a:buChar char="•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FFFC06-7C04-474C-B5D6-2402AE085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129C67-3D18-4510-8504-02BBD88DFE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601F2F-361D-4F1B-8674-EA3123AC8A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87634E-E6C9-4819-A148-008761A2E3D3}" type="datetimeFigureOut">
              <a:rPr lang="en-GB" smtClean="0"/>
              <a:t>07/06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D48CF1-CB21-4A25-9C3D-2503341F0C4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9FF87-0AA4-43DC-983D-D32C6D5925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5D6A2D-CAF5-49AD-8E5E-E20112576B8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783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  <p:sldLayoutId id="2147483881" r:id="rId12"/>
    <p:sldLayoutId id="214748388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3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tiff"/><Relationship Id="rId1" Type="http://schemas.openxmlformats.org/officeDocument/2006/relationships/slideLayout" Target="../slideLayouts/slideLayout104.xml"/><Relationship Id="rId4" Type="http://schemas.openxmlformats.org/officeDocument/2006/relationships/image" Target="../media/image5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tiff"/><Relationship Id="rId1" Type="http://schemas.openxmlformats.org/officeDocument/2006/relationships/slideLayout" Target="../slideLayouts/slideLayout10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tiff"/><Relationship Id="rId1" Type="http://schemas.openxmlformats.org/officeDocument/2006/relationships/slideLayout" Target="../slideLayouts/slideLayout10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tiff"/><Relationship Id="rId1" Type="http://schemas.openxmlformats.org/officeDocument/2006/relationships/slideLayout" Target="../slideLayouts/slideLayout10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0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3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13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3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3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10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9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image" Target="../media/image14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1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image" Target="../media/image20.png"/><Relationship Id="rId10" Type="http://schemas.openxmlformats.org/officeDocument/2006/relationships/image" Target="../media/image25.png"/><Relationship Id="rId4" Type="http://schemas.openxmlformats.org/officeDocument/2006/relationships/image" Target="../media/image15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3.png"/><Relationship Id="rId18" Type="http://schemas.openxmlformats.org/officeDocument/2006/relationships/image" Target="../media/image38.png"/><Relationship Id="rId3" Type="http://schemas.openxmlformats.org/officeDocument/2006/relationships/image" Target="../media/image21.png"/><Relationship Id="rId21" Type="http://schemas.openxmlformats.org/officeDocument/2006/relationships/image" Target="../media/image41.png"/><Relationship Id="rId7" Type="http://schemas.openxmlformats.org/officeDocument/2006/relationships/image" Target="../media/image15.png"/><Relationship Id="rId12" Type="http://schemas.openxmlformats.org/officeDocument/2006/relationships/image" Target="../media/image32.png"/><Relationship Id="rId17" Type="http://schemas.openxmlformats.org/officeDocument/2006/relationships/image" Target="../media/image37.png"/><Relationship Id="rId2" Type="http://schemas.openxmlformats.org/officeDocument/2006/relationships/image" Target="../media/image30.png"/><Relationship Id="rId16" Type="http://schemas.openxmlformats.org/officeDocument/2006/relationships/image" Target="../media/image36.png"/><Relationship Id="rId20" Type="http://schemas.openxmlformats.org/officeDocument/2006/relationships/image" Target="../media/image40.png"/><Relationship Id="rId1" Type="http://schemas.openxmlformats.org/officeDocument/2006/relationships/slideLayout" Target="../slideLayouts/slideLayout131.xml"/><Relationship Id="rId6" Type="http://schemas.openxmlformats.org/officeDocument/2006/relationships/image" Target="../media/image14.png"/><Relationship Id="rId11" Type="http://schemas.openxmlformats.org/officeDocument/2006/relationships/image" Target="../media/image31.png"/><Relationship Id="rId5" Type="http://schemas.openxmlformats.org/officeDocument/2006/relationships/image" Target="../media/image13.png"/><Relationship Id="rId15" Type="http://schemas.openxmlformats.org/officeDocument/2006/relationships/image" Target="../media/image35.png"/><Relationship Id="rId10" Type="http://schemas.openxmlformats.org/officeDocument/2006/relationships/image" Target="../media/image27.png"/><Relationship Id="rId19" Type="http://schemas.openxmlformats.org/officeDocument/2006/relationships/image" Target="../media/image39.png"/><Relationship Id="rId4" Type="http://schemas.openxmlformats.org/officeDocument/2006/relationships/image" Target="../media/image22.png"/><Relationship Id="rId9" Type="http://schemas.openxmlformats.org/officeDocument/2006/relationships/image" Target="../media/image26.png"/><Relationship Id="rId14" Type="http://schemas.openxmlformats.org/officeDocument/2006/relationships/image" Target="../media/image3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93/ndt/gfy407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6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707FC24-6981-43D9-B525-C7832BA224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36884" y="311449"/>
            <a:ext cx="4332307" cy="6179552"/>
          </a:xfrm>
          <a:prstGeom prst="rect">
            <a:avLst/>
          </a:prstGeom>
          <a:solidFill>
            <a:srgbClr val="404040"/>
          </a:solidFill>
          <a:ln w="127000" cap="sq" cmpd="thinThick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6225369-6B3D-35D3-895D-87518269E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2950" y="742951"/>
            <a:ext cx="3476625" cy="4962524"/>
          </a:xfrm>
        </p:spPr>
        <p:txBody>
          <a:bodyPr>
            <a:normAutofit/>
          </a:bodyPr>
          <a:lstStyle/>
          <a:p>
            <a:pPr algn="ctr"/>
            <a:r>
              <a:rPr lang="da-DK" sz="3700" b="1">
                <a:solidFill>
                  <a:srgbClr val="FFFFFF"/>
                </a:solidFill>
              </a:rPr>
              <a:t>Kronisk nyresygdom</a:t>
            </a:r>
            <a:br>
              <a:rPr lang="da-DK" sz="3700" b="1">
                <a:solidFill>
                  <a:srgbClr val="FFFFFF"/>
                </a:solidFill>
              </a:rPr>
            </a:br>
            <a:r>
              <a:rPr lang="da-DK" sz="3700" b="1">
                <a:solidFill>
                  <a:srgbClr val="FFFFFF"/>
                </a:solidFill>
              </a:rPr>
              <a:t>Johan V Povlsen, Nyresygdomme, AUH</a:t>
            </a: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F687BCA5-602B-1D1E-B7FF-E6B6F7587C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3822" y="1671706"/>
            <a:ext cx="6553545" cy="352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3202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2476E1D-788C-4351-8D27-E545F0827E9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85" t="1084" r="4193" b="2536"/>
          <a:stretch/>
        </p:blipFill>
        <p:spPr>
          <a:xfrm>
            <a:off x="260414" y="1908770"/>
            <a:ext cx="5270398" cy="23931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838200" y="339299"/>
            <a:ext cx="10515600" cy="1325563"/>
          </a:xfrm>
        </p:spPr>
        <p:txBody>
          <a:bodyPr>
            <a:normAutofit/>
          </a:bodyPr>
          <a:lstStyle/>
          <a:p>
            <a:r>
              <a:rPr lang="en-GB" b="1" dirty="0">
                <a:solidFill>
                  <a:srgbClr val="002060"/>
                </a:solidFill>
              </a:rPr>
              <a:t>Progression of renal disease;</a:t>
            </a:r>
            <a:br>
              <a:rPr lang="en-GB" b="1" dirty="0">
                <a:solidFill>
                  <a:srgbClr val="002060"/>
                </a:solidFill>
              </a:rPr>
            </a:br>
            <a:r>
              <a:rPr lang="en-GB" b="1" dirty="0">
                <a:solidFill>
                  <a:srgbClr val="002060"/>
                </a:solidFill>
              </a:rPr>
              <a:t>Treatment has improved, but…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5866274F-B4DC-40AF-88E9-4D0C79DE0FA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867" r="2856"/>
          <a:stretch/>
        </p:blipFill>
        <p:spPr>
          <a:xfrm>
            <a:off x="6103008" y="1923093"/>
            <a:ext cx="5594243" cy="249157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20A006F-CF64-44D8-A221-E10CE57D76D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527" r="4724"/>
          <a:stretch/>
        </p:blipFill>
        <p:spPr>
          <a:xfrm>
            <a:off x="6268425" y="2525864"/>
            <a:ext cx="5504605" cy="237919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E8AF357F-FBBA-4B94-B596-4C4C7357EA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80233" y="3422778"/>
            <a:ext cx="5505922" cy="249157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ACC08F69-3F7B-4A23-8903-97318A1323AF}"/>
              </a:ext>
            </a:extLst>
          </p:cNvPr>
          <p:cNvSpPr txBox="1">
            <a:spLocks/>
          </p:cNvSpPr>
          <p:nvPr/>
        </p:nvSpPr>
        <p:spPr>
          <a:xfrm>
            <a:off x="1838739" y="6172583"/>
            <a:ext cx="9128993" cy="346118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81A413B-5AD4-4858-8141-EAB0E8A72EA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188" r="3063"/>
          <a:stretch/>
        </p:blipFill>
        <p:spPr>
          <a:xfrm>
            <a:off x="573539" y="3357708"/>
            <a:ext cx="5217661" cy="23931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 Box 25">
            <a:extLst>
              <a:ext uri="{FF2B5EF4-FFF2-40B4-BE49-F238E27FC236}">
                <a16:creationId xmlns:a16="http://schemas.microsoft.com/office/drawing/2014/main" id="{A6A1FBB9-0E7A-420B-B325-5A173F6F6B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8175" y="6401531"/>
            <a:ext cx="1112485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Bakris G et al.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N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Engl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 J Med 2020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;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Brenner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 BM et al. N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Engl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 J Med 2001;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Heerspink H et al.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 N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Engl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 J Med 2020;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Perkovic V et al. N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Engl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 J Med 2019; 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Lewis EJ et al. N </a:t>
            </a:r>
            <a:r>
              <a:rPr kumimoji="0" lang="da-DK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Engl</a:t>
            </a: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Apis For Office"/>
                <a:ea typeface="+mn-ea"/>
                <a:cs typeface="+mn-cs"/>
              </a:rPr>
              <a:t> J Med 2001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Apis For Offi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0414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rimary outcome:</a:t>
            </a:r>
          </a:p>
          <a:p>
            <a:r>
              <a:rPr lang="en-US" dirty="0"/>
              <a:t>Sustained ≥50% eGFR decline, ESKD, renal or cardiovascular death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Heerspink HJL. et.al. Presented at ESC 2020.</a:t>
            </a:r>
          </a:p>
        </p:txBody>
      </p:sp>
      <p:pic>
        <p:nvPicPr>
          <p:cNvPr id="6" name="Picture 5" descr="A_AXIS.ti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9373" y="1335187"/>
            <a:ext cx="7704238" cy="4987758"/>
          </a:xfrm>
          <a:prstGeom prst="rect">
            <a:avLst/>
          </a:prstGeom>
        </p:spPr>
      </p:pic>
      <p:pic>
        <p:nvPicPr>
          <p:cNvPr id="7" name="Picture 6" descr="A_PBO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231" y="1906392"/>
            <a:ext cx="6264351" cy="3258824"/>
          </a:xfrm>
          <a:prstGeom prst="rect">
            <a:avLst/>
          </a:prstGeom>
        </p:spPr>
      </p:pic>
      <p:pic>
        <p:nvPicPr>
          <p:cNvPr id="8" name="Picture 7" descr="A_DAPA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231" y="3116162"/>
            <a:ext cx="6264351" cy="204905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3069740" y="1195052"/>
            <a:ext cx="4224233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303A5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03A5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zard ratio, 0.61 (95% CI, 0.51–0.72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03A5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=0.00000002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303A5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NT=19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303A5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172793" y="2345964"/>
            <a:ext cx="1069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303A5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cebo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897973" y="4192253"/>
            <a:ext cx="16209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303A5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pagliflozi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029074" y="3100469"/>
            <a:ext cx="1390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303A5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7 Event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033556" y="1918744"/>
            <a:ext cx="13901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303A5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12 Events</a:t>
            </a:r>
          </a:p>
        </p:txBody>
      </p:sp>
    </p:spTree>
    <p:extLst>
      <p:ext uri="{BB962C8B-B14F-4D97-AF65-F5344CB8AC3E}">
        <p14:creationId xmlns:p14="http://schemas.microsoft.com/office/powerpoint/2010/main" val="28375466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/>
      <p:bldP spid="1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econdary outcome:</a:t>
            </a:r>
          </a:p>
          <a:p>
            <a:r>
              <a:rPr lang="en-US" dirty="0"/>
              <a:t>Sustained ≥50% eGFR decline, ESKD, renal death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Heerspink HJL. et.al. Presented at ESC 2020.</a:t>
            </a:r>
          </a:p>
        </p:txBody>
      </p:sp>
      <p:pic>
        <p:nvPicPr>
          <p:cNvPr id="18434" name="Picture 2" descr="S:\Pharma\Clients\AstraZeneca-DAPA\LIVE Projects\Congresses\ESC 2020\DAPA-CKD\Slides\Figures\B_renal-specific_comp_outcome.tif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383"/>
          <a:stretch/>
        </p:blipFill>
        <p:spPr bwMode="auto">
          <a:xfrm>
            <a:off x="1583936" y="1357340"/>
            <a:ext cx="8969932" cy="4900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1034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hronic dialysis, kidney transplantation, renal death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Heerspink HJL. et.al. Presented at ESC 2020.</a:t>
            </a:r>
          </a:p>
        </p:txBody>
      </p:sp>
      <p:pic>
        <p:nvPicPr>
          <p:cNvPr id="23554" name="Picture 2" descr="S:\Pharma\Clients\AstraZeneca-DAPA\LIVE Projects\Congresses\ESC 2020\DAPA-CKD\Slides\Figures\E_KM_RE3_ALL.tif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30" b="1252"/>
          <a:stretch/>
        </p:blipFill>
        <p:spPr bwMode="auto">
          <a:xfrm>
            <a:off x="1585139" y="1333401"/>
            <a:ext cx="8886730" cy="4932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92713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Secondary outcome:</a:t>
            </a:r>
          </a:p>
          <a:p>
            <a:r>
              <a:rPr lang="en-US" dirty="0"/>
              <a:t>All-cause mortality</a:t>
            </a:r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Heerspink HJL. et.al. Presented at ESC 2020.</a:t>
            </a:r>
          </a:p>
        </p:txBody>
      </p:sp>
      <p:pic>
        <p:nvPicPr>
          <p:cNvPr id="20482" name="Picture 2" descr="S:\Pharma\Clients\AstraZeneca-DAPA\LIVE Projects\Congresses\ESC 2020\DAPA-CKD\Slides\Figures\D_All-cause-death.tif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06"/>
          <a:stretch/>
        </p:blipFill>
        <p:spPr bwMode="auto">
          <a:xfrm>
            <a:off x="1585814" y="1343141"/>
            <a:ext cx="8933762" cy="491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66337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0A171F17-AB17-4B48-A48C-D6E2E55629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1220" y="1254897"/>
            <a:ext cx="7188259" cy="4744251"/>
          </a:xfrm>
          <a:prstGeom prst="rect">
            <a:avLst/>
          </a:prstGeom>
          <a:noFill/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17860E3-F9B9-4433-8B63-421619291B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000" y="299726"/>
            <a:ext cx="11758800" cy="886278"/>
          </a:xfrm>
        </p:spPr>
        <p:txBody>
          <a:bodyPr/>
          <a:lstStyle/>
          <a:p>
            <a:r>
              <a:rPr lang="en-US" dirty="0"/>
              <a:t>Ændringer i eGFR</a:t>
            </a:r>
          </a:p>
          <a:p>
            <a:r>
              <a:rPr lang="en-US" dirty="0"/>
              <a:t>Dapagliflozin vs placebo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4937368-D24E-4954-8B00-A300426B57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6001" y="6068041"/>
            <a:ext cx="9996636" cy="713375"/>
          </a:xfrm>
        </p:spPr>
        <p:txBody>
          <a:bodyPr/>
          <a:lstStyle/>
          <a:p>
            <a:r>
              <a:rPr lang="en-US" dirty="0" err="1"/>
              <a:t>Heerspink</a:t>
            </a:r>
            <a:r>
              <a:rPr lang="en-US" dirty="0"/>
              <a:t> HJL. et.al. Presented at ESC 2020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1479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0A171F17-AB17-4B48-A48C-D6E2E55629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1220" y="1254897"/>
            <a:ext cx="7188259" cy="4744251"/>
          </a:xfrm>
          <a:prstGeom prst="rect">
            <a:avLst/>
          </a:prstGeom>
          <a:noFill/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17860E3-F9B9-4433-8B63-421619291B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6000" y="299726"/>
            <a:ext cx="11758800" cy="886278"/>
          </a:xfrm>
        </p:spPr>
        <p:txBody>
          <a:bodyPr/>
          <a:lstStyle/>
          <a:p>
            <a:r>
              <a:rPr lang="en-US" dirty="0"/>
              <a:t>Ændringer i eGFR</a:t>
            </a:r>
          </a:p>
          <a:p>
            <a:r>
              <a:rPr lang="en-US" dirty="0"/>
              <a:t>Dapagliflozin vs placebo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4937368-D24E-4954-8B00-A300426B57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16001" y="6068041"/>
            <a:ext cx="9996636" cy="713375"/>
          </a:xfrm>
        </p:spPr>
        <p:txBody>
          <a:bodyPr/>
          <a:lstStyle/>
          <a:p>
            <a:r>
              <a:rPr lang="en-US" dirty="0" err="1"/>
              <a:t>Heerspink</a:t>
            </a:r>
            <a:r>
              <a:rPr lang="en-US" dirty="0"/>
              <a:t> HJL. et.al. Presented at ESC 2020.</a:t>
            </a:r>
          </a:p>
          <a:p>
            <a:endParaRPr lang="en-US" dirty="0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6ECD1C72-CE35-44CF-286F-E7AA8BA78C9B}"/>
              </a:ext>
            </a:extLst>
          </p:cNvPr>
          <p:cNvSpPr txBox="1"/>
          <p:nvPr/>
        </p:nvSpPr>
        <p:spPr>
          <a:xfrm>
            <a:off x="149087" y="2613991"/>
            <a:ext cx="2127505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b="1" dirty="0">
                <a:solidFill>
                  <a:srgbClr val="FF0000"/>
                </a:solidFill>
              </a:rPr>
              <a:t>Start ikke SGLT2i</a:t>
            </a:r>
          </a:p>
          <a:p>
            <a:r>
              <a:rPr lang="da-DK" b="1" dirty="0">
                <a:solidFill>
                  <a:srgbClr val="FF0000"/>
                </a:solidFill>
              </a:rPr>
              <a:t>Ved</a:t>
            </a:r>
          </a:p>
          <a:p>
            <a:r>
              <a:rPr lang="da-DK" b="1" dirty="0">
                <a:solidFill>
                  <a:srgbClr val="FF0000"/>
                </a:solidFill>
              </a:rPr>
              <a:t>eGFR &lt; 20 ml/min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2235A499-EC95-DA1B-B39D-EACCC1DDFDC3}"/>
              </a:ext>
            </a:extLst>
          </p:cNvPr>
          <p:cNvSpPr txBox="1"/>
          <p:nvPr/>
        </p:nvSpPr>
        <p:spPr>
          <a:xfrm>
            <a:off x="216000" y="3820562"/>
            <a:ext cx="74541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>
                <a:solidFill>
                  <a:srgbClr val="FF0000"/>
                </a:solidFill>
              </a:rPr>
              <a:t>Det er ikke </a:t>
            </a:r>
          </a:p>
          <a:p>
            <a:r>
              <a:rPr lang="da-DK" b="1" dirty="0">
                <a:solidFill>
                  <a:srgbClr val="FF0000"/>
                </a:solidFill>
              </a:rPr>
              <a:t>nødvendigt at </a:t>
            </a:r>
          </a:p>
          <a:p>
            <a:r>
              <a:rPr lang="da-DK" b="1" dirty="0">
                <a:solidFill>
                  <a:srgbClr val="FF0000"/>
                </a:solidFill>
              </a:rPr>
              <a:t>kontrollere </a:t>
            </a:r>
            <a:r>
              <a:rPr lang="da-DK" b="1" dirty="0" err="1">
                <a:solidFill>
                  <a:srgbClr val="FF0000"/>
                </a:solidFill>
              </a:rPr>
              <a:t>eGFR</a:t>
            </a:r>
            <a:r>
              <a:rPr lang="da-DK" b="1" dirty="0">
                <a:solidFill>
                  <a:srgbClr val="FF0000"/>
                </a:solidFill>
              </a:rPr>
              <a:t> </a:t>
            </a:r>
          </a:p>
          <a:p>
            <a:r>
              <a:rPr lang="da-DK" b="1" dirty="0">
                <a:solidFill>
                  <a:srgbClr val="FF0000"/>
                </a:solidFill>
              </a:rPr>
              <a:t>efter start</a:t>
            </a:r>
          </a:p>
        </p:txBody>
      </p:sp>
    </p:spTree>
    <p:extLst>
      <p:ext uri="{BB962C8B-B14F-4D97-AF65-F5344CB8AC3E}">
        <p14:creationId xmlns:p14="http://schemas.microsoft.com/office/powerpoint/2010/main" val="10098820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2730F39-BE78-4FA5-B8D9-89D912444C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e-specified sub-groups:</a:t>
            </a:r>
            <a:endParaRPr lang="en-DK" b="1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8C7948D6-1B84-46CC-86F2-C6F336DAB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DK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ladsholder til indhold 5">
            <a:extLst>
              <a:ext uri="{FF2B5EF4-FFF2-40B4-BE49-F238E27FC236}">
                <a16:creationId xmlns:a16="http://schemas.microsoft.com/office/drawing/2014/main" id="{9026AFFF-C2CC-489E-8535-B5EE0524BCE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37952" y="1496290"/>
            <a:ext cx="10167851" cy="449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352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E206E0-2F8F-4518-AE3D-5FCC5BB3DA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ther subgroups</a:t>
            </a:r>
            <a:endParaRPr lang="en-DK" b="1" dirty="0"/>
          </a:p>
        </p:txBody>
      </p:sp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3BB4B599-1389-48B9-B2FD-44A894FD4F5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94870" y="1384260"/>
            <a:ext cx="5964572" cy="5033484"/>
          </a:xfrm>
          <a:prstGeom prst="rect">
            <a:avLst/>
          </a:prstGeom>
        </p:spPr>
      </p:pic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8DAB6E42-E59E-4C0A-94DC-B291F7B88B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derik Husum Mårup - JC d. 8/2</a:t>
            </a:r>
            <a:endParaRPr kumimoji="0" lang="en-D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83557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3ABBC8-95BF-4422-9F4E-233C9242A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ther subgroups</a:t>
            </a:r>
            <a:endParaRPr lang="en-DK" b="1" dirty="0"/>
          </a:p>
        </p:txBody>
      </p:sp>
      <p:pic>
        <p:nvPicPr>
          <p:cNvPr id="6" name="Pladsholder til indhold 5">
            <a:extLst>
              <a:ext uri="{FF2B5EF4-FFF2-40B4-BE49-F238E27FC236}">
                <a16:creationId xmlns:a16="http://schemas.microsoft.com/office/drawing/2014/main" id="{8D4F9AA2-7B30-44C8-92F3-A2D11DDF31C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621782" y="1493672"/>
            <a:ext cx="4528822" cy="4862678"/>
          </a:xfrm>
          <a:prstGeom prst="rect">
            <a:avLst/>
          </a:prstGeom>
        </p:spPr>
      </p:pic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05BAA2E-9C61-44EC-AD86-8FB4BA47A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derik Husum Mårup - JC d. 8/2</a:t>
            </a:r>
            <a:endParaRPr kumimoji="0" lang="en-D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60963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1574C56-D74D-787B-797F-903DE73D6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14338"/>
            <a:ext cx="10972800" cy="1143000"/>
          </a:xfrm>
        </p:spPr>
        <p:txBody>
          <a:bodyPr wrap="square" anchor="ctr">
            <a:normAutofit/>
          </a:bodyPr>
          <a:lstStyle/>
          <a:p>
            <a:r>
              <a:rPr lang="da-DK"/>
              <a:t>Klassifikation af albuminuri</a:t>
            </a:r>
          </a:p>
        </p:txBody>
      </p:sp>
      <p:pic>
        <p:nvPicPr>
          <p:cNvPr id="4" name="Pladsholder til diagram 3">
            <a:extLst>
              <a:ext uri="{FF2B5EF4-FFF2-40B4-BE49-F238E27FC236}">
                <a16:creationId xmlns:a16="http://schemas.microsoft.com/office/drawing/2014/main" id="{EA9E6EE3-5C3D-D1FB-D3F4-876B285CDB1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09600" y="1723487"/>
            <a:ext cx="10972800" cy="42793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70862874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B84369-136E-430B-A5AE-3B85387CE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Other subgroups: </a:t>
            </a:r>
            <a:r>
              <a:rPr lang="en-US" b="1" dirty="0">
                <a:solidFill>
                  <a:srgbClr val="FF0000"/>
                </a:solidFill>
              </a:rPr>
              <a:t>CKD</a:t>
            </a:r>
            <a:endParaRPr lang="en-DK" b="1" dirty="0">
              <a:solidFill>
                <a:srgbClr val="FF0000"/>
              </a:solidFill>
            </a:endParaRPr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F4570A79-C77A-4260-B39C-24AC9B87E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derik Husum Mårup - JC d. 8/2</a:t>
            </a:r>
            <a:endParaRPr kumimoji="0" lang="en-DK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2" descr="https://images.squarespace-cdn.com/content/v1/535bcb2fe4b05fe61b320c51/427a014b-6f10-464d-a67a-94600172eddc/image14.png?format=1500w">
            <a:extLst>
              <a:ext uri="{FF2B5EF4-FFF2-40B4-BE49-F238E27FC236}">
                <a16:creationId xmlns:a16="http://schemas.microsoft.com/office/drawing/2014/main" id="{5F31E3F3-7075-4C83-A6EB-780CAB79D1FC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2818" y="1825625"/>
            <a:ext cx="7126363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32870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99F6FC58-6D20-47D2-9961-55222745EA73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651316" y="68263"/>
            <a:ext cx="10738555" cy="60404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547228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D717A5-2809-547C-4C23-F29F92F496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3200" dirty="0"/>
              <a:t>Nefrologens anbefaling I: SGLT2 hæmm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197855A-F206-0B66-115F-056EAAE19B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 dirty="0"/>
          </a:p>
          <a:p>
            <a:r>
              <a:rPr lang="da-DK" b="1" dirty="0"/>
              <a:t>DM2 og nyresygdom: 	Alle med eGFR &gt; 20 ml/min uanset UACR</a:t>
            </a:r>
          </a:p>
          <a:p>
            <a:endParaRPr lang="da-DK" b="1" dirty="0"/>
          </a:p>
          <a:p>
            <a:r>
              <a:rPr lang="da-DK" b="1" dirty="0"/>
              <a:t>CKD: 			Alle med eGFR &gt; 20 ml/min og UACR &gt; 200 mg/l</a:t>
            </a:r>
          </a:p>
          <a:p>
            <a:endParaRPr lang="da-DK" b="1" dirty="0"/>
          </a:p>
          <a:p>
            <a:r>
              <a:rPr lang="da-DK" b="1" dirty="0"/>
              <a:t>Dog:			?????????</a:t>
            </a:r>
          </a:p>
          <a:p>
            <a:endParaRPr lang="da-DK" b="1" dirty="0"/>
          </a:p>
          <a:p>
            <a:endParaRPr lang="da-DK" b="1" dirty="0"/>
          </a:p>
          <a:p>
            <a:endParaRPr lang="da-DK" b="1" dirty="0"/>
          </a:p>
          <a:p>
            <a:r>
              <a:rPr lang="da-DK" b="1" dirty="0"/>
              <a:t>HUSK:			</a:t>
            </a:r>
            <a:r>
              <a:rPr lang="da-DK" sz="1800" b="1" dirty="0"/>
              <a:t>Antiglykæmisk effekt aftager ved eGFR = 60 ml/min 				og forsvinder ved ca. 30-45 ml/min, men</a:t>
            </a:r>
          </a:p>
          <a:p>
            <a:pPr marL="3657600" lvl="8" indent="0">
              <a:buNone/>
            </a:pPr>
            <a:r>
              <a:rPr lang="da-DK" b="1" dirty="0"/>
              <a:t>SGLT2I skal fortsættes.</a:t>
            </a:r>
          </a:p>
        </p:txBody>
      </p:sp>
    </p:spTree>
    <p:extLst>
      <p:ext uri="{BB962C8B-B14F-4D97-AF65-F5344CB8AC3E}">
        <p14:creationId xmlns:p14="http://schemas.microsoft.com/office/powerpoint/2010/main" val="968816882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2" name="Billede 1">
            <a:extLst>
              <a:ext uri="{FF2B5EF4-FFF2-40B4-BE49-F238E27FC236}">
                <a16:creationId xmlns:a16="http://schemas.microsoft.com/office/drawing/2014/main" id="{ECC03E42-B638-FB97-739B-BAD4E0A83BF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2061" b="16750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8507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indhold 5">
            <a:extLst>
              <a:ext uri="{FF2B5EF4-FFF2-40B4-BE49-F238E27FC236}">
                <a16:creationId xmlns:a16="http://schemas.microsoft.com/office/drawing/2014/main" id="{F9D1A862-E256-A03F-3670-8F7FBF355C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77738" y="68263"/>
            <a:ext cx="9636523" cy="6721475"/>
          </a:xfrm>
          <a:prstGeom prst="rect">
            <a:avLst/>
          </a:prstGeom>
          <a:noFill/>
        </p:spPr>
      </p:pic>
      <p:sp>
        <p:nvSpPr>
          <p:cNvPr id="5" name="Pladsholder til slidenummer 4" hidden="1">
            <a:extLst>
              <a:ext uri="{FF2B5EF4-FFF2-40B4-BE49-F238E27FC236}">
                <a16:creationId xmlns:a16="http://schemas.microsoft.com/office/drawing/2014/main" id="{9A3D1C98-9CFD-04D1-49AA-B13324D384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spcAft>
                <a:spcPts val="600"/>
              </a:spcAft>
              <a:defRPr/>
            </a:pPr>
            <a:fld id="{C881F38E-E057-41ED-A86B-64492A52BE8B}" type="slidenum">
              <a:rPr lang="en-GB" smtClean="0"/>
              <a:pPr>
                <a:spcAft>
                  <a:spcPts val="600"/>
                </a:spcAft>
                <a:defRPr/>
              </a:pPr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199273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264A4A2-E000-4BF9-F1AC-D53A7B91E4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3600" b="1" dirty="0"/>
              <a:t>DM2: Farmakologisk behandling af BT og albuminuri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E3760FA-6D0B-A99A-297A-304AF533FC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a-DK" sz="2800" b="1" dirty="0"/>
              <a:t>Behandlingsmål: 	</a:t>
            </a:r>
            <a:r>
              <a:rPr lang="da-DK" sz="2800" b="1" dirty="0">
                <a:solidFill>
                  <a:srgbClr val="FF0000"/>
                </a:solidFill>
              </a:rPr>
              <a:t>130/80</a:t>
            </a:r>
            <a:r>
              <a:rPr lang="da-DK" sz="2800" b="1" dirty="0"/>
              <a:t>	</a:t>
            </a:r>
          </a:p>
          <a:p>
            <a:pPr>
              <a:lnSpc>
                <a:spcPct val="150000"/>
              </a:lnSpc>
            </a:pPr>
            <a:r>
              <a:rPr lang="da-DK" sz="2800" b="1" dirty="0"/>
              <a:t>ACEi eller ARB er førstevalg</a:t>
            </a:r>
          </a:p>
          <a:p>
            <a:pPr>
              <a:lnSpc>
                <a:spcPct val="150000"/>
              </a:lnSpc>
            </a:pPr>
            <a:r>
              <a:rPr lang="da-DK" sz="2800" b="1" dirty="0"/>
              <a:t>SGLT2i uafhængig af UACR</a:t>
            </a:r>
          </a:p>
          <a:p>
            <a:pPr>
              <a:lnSpc>
                <a:spcPct val="150000"/>
              </a:lnSpc>
            </a:pPr>
            <a:r>
              <a:rPr lang="da-DK" sz="2800" b="1" dirty="0"/>
              <a:t>Overvej GLP1-RA</a:t>
            </a:r>
          </a:p>
          <a:p>
            <a:pPr>
              <a:lnSpc>
                <a:spcPct val="150000"/>
              </a:lnSpc>
            </a:pPr>
            <a:r>
              <a:rPr lang="da-DK" sz="2800" b="1" dirty="0"/>
              <a:t>Overvej Finerenone (Kerendia) </a:t>
            </a:r>
          </a:p>
          <a:p>
            <a:pPr>
              <a:lnSpc>
                <a:spcPct val="150000"/>
              </a:lnSpc>
            </a:pPr>
            <a:r>
              <a:rPr lang="da-DK" sz="2800" b="1" dirty="0"/>
              <a:t>Progressionshæmning vigtigere </a:t>
            </a:r>
            <a:r>
              <a:rPr lang="da-DK" sz="2800" b="1"/>
              <a:t>end HbA1c</a:t>
            </a:r>
            <a:r>
              <a:rPr lang="da-DK" sz="2800" b="1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9802043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F96BBBC1-82E0-B98F-E14C-E9CD9C80AC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59565" y="68263"/>
            <a:ext cx="8672870" cy="67214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03285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5CAA9-297A-4B20-E3A5-8081D73235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414338"/>
            <a:ext cx="10972800" cy="1143000"/>
          </a:xfrm>
        </p:spPr>
        <p:txBody>
          <a:bodyPr wrap="square" anchor="ctr">
            <a:normAutofit/>
          </a:bodyPr>
          <a:lstStyle/>
          <a:p>
            <a:r>
              <a:rPr lang="da-DK"/>
              <a:t>CKD-klassifikation</a:t>
            </a:r>
          </a:p>
        </p:txBody>
      </p:sp>
      <p:pic>
        <p:nvPicPr>
          <p:cNvPr id="4" name="Pladsholder til indhold 3">
            <a:extLst>
              <a:ext uri="{FF2B5EF4-FFF2-40B4-BE49-F238E27FC236}">
                <a16:creationId xmlns:a16="http://schemas.microsoft.com/office/drawing/2014/main" id="{D346B4CA-2529-B8B9-7FFA-1E76977A899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39912" y="1600201"/>
            <a:ext cx="6512175" cy="452596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54521699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Title 1">
            <a:extLst>
              <a:ext uri="{FF2B5EF4-FFF2-40B4-BE49-F238E27FC236}">
                <a16:creationId xmlns:a16="http://schemas.microsoft.com/office/drawing/2014/main" id="{C098C6A6-CEE0-4580-9A25-DB5A61B7A4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defTabSz="342802">
              <a:defRPr/>
            </a:pPr>
            <a:r>
              <a:rPr lang="en-CA" dirty="0">
                <a:latin typeface="+mn-lt"/>
              </a:rPr>
              <a:t>CKD in T2D: a growing disease population </a:t>
            </a:r>
            <a:br>
              <a:rPr lang="en-CA" dirty="0">
                <a:latin typeface="+mn-lt"/>
              </a:rPr>
            </a:br>
            <a:r>
              <a:rPr lang="en-CA" dirty="0">
                <a:latin typeface="+mn-lt"/>
              </a:rPr>
              <a:t>with a complex prognosis</a:t>
            </a:r>
            <a:endParaRPr lang="en-GB" dirty="0">
              <a:latin typeface="+mn-lt"/>
            </a:endParaRPr>
          </a:p>
        </p:txBody>
      </p:sp>
      <p:sp>
        <p:nvSpPr>
          <p:cNvPr id="488451" name="Text Placeholder 8">
            <a:extLst>
              <a:ext uri="{FF2B5EF4-FFF2-40B4-BE49-F238E27FC236}">
                <a16:creationId xmlns:a16="http://schemas.microsoft.com/office/drawing/2014/main" id="{C7F2DA09-E00E-461F-BE1C-46555FDD9DC6}"/>
              </a:ext>
            </a:extLst>
          </p:cNvPr>
          <p:cNvSpPr>
            <a:spLocks noGrp="1" noChangeArrowheads="1"/>
          </p:cNvSpPr>
          <p:nvPr>
            <p:ph type="body" sz="quarter" idx="10"/>
          </p:nvPr>
        </p:nvSpPr>
        <p:spPr>
          <a:xfrm>
            <a:off x="1981200" y="5543550"/>
            <a:ext cx="8229600" cy="287338"/>
          </a:xfrm>
        </p:spPr>
        <p:txBody>
          <a:bodyPr>
            <a:normAutofit fontScale="92500"/>
          </a:bodyPr>
          <a:lstStyle/>
          <a:p>
            <a:pPr>
              <a:spcBef>
                <a:spcPct val="0"/>
              </a:spcBef>
            </a:pPr>
            <a:r>
              <a:rPr lang="en-CA" altLang="da-DK"/>
              <a:t>CKD, chronic kidney disease;</a:t>
            </a:r>
            <a:r>
              <a:rPr lang="en-GB" altLang="da-DK"/>
              <a:t> T2D, type 2 diabetes</a:t>
            </a:r>
            <a:r>
              <a:rPr lang="en-CA" altLang="da-DK"/>
              <a:t>. </a:t>
            </a:r>
            <a:r>
              <a:rPr lang="en-GB" altLang="da-DK"/>
              <a:t>1</a:t>
            </a:r>
            <a:r>
              <a:rPr lang="da-DK" altLang="da-DK"/>
              <a:t>. </a:t>
            </a:r>
            <a:r>
              <a:rPr lang="en-CA" altLang="da-DK"/>
              <a:t>International Diabetes Federation. IDF Diabetes Atlas. 8th edn. Brussels, Belgium: IDF, 2017. Available at: http://www.diabetesatlas.org; accessed 12 Apr 2019</a:t>
            </a:r>
            <a:endParaRPr lang="da-DK" altLang="da-DK" sz="100">
              <a:solidFill>
                <a:srgbClr val="575757"/>
              </a:solidFill>
              <a:cs typeface="Arial" panose="020B0604020202020204" pitchFamily="34" charset="0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AB1AA423-AD4D-4C09-819E-4788769D111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07125" y="1860551"/>
            <a:ext cx="38481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gnosis of patient with T2D and dialysis</a:t>
            </a:r>
            <a:r>
              <a:rPr kumimoji="0" lang="en-CA" altLang="da-DK" sz="14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</a:t>
            </a:r>
          </a:p>
        </p:txBody>
      </p:sp>
      <p:sp>
        <p:nvSpPr>
          <p:cNvPr id="143" name="TextBox 142">
            <a:extLst>
              <a:ext uri="{FF2B5EF4-FFF2-40B4-BE49-F238E27FC236}">
                <a16:creationId xmlns:a16="http://schemas.microsoft.com/office/drawing/2014/main" id="{2144A98E-A09C-45CB-8731-C5A883965D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19813" y="2105026"/>
            <a:ext cx="1077912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ostate cancer</a:t>
            </a:r>
          </a:p>
        </p:txBody>
      </p: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A717ACE0-7926-487C-973A-3D37975459E3}"/>
              </a:ext>
            </a:extLst>
          </p:cNvPr>
          <p:cNvCxnSpPr>
            <a:cxnSpLocks/>
          </p:cNvCxnSpPr>
          <p:nvPr/>
        </p:nvCxnSpPr>
        <p:spPr>
          <a:xfrm>
            <a:off x="7099301" y="4521200"/>
            <a:ext cx="270351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A08E9213-7C8A-4997-A67E-B6B7759698A3}"/>
              </a:ext>
            </a:extLst>
          </p:cNvPr>
          <p:cNvCxnSpPr>
            <a:cxnSpLocks/>
          </p:cNvCxnSpPr>
          <p:nvPr/>
        </p:nvCxnSpPr>
        <p:spPr>
          <a:xfrm flipV="1">
            <a:off x="7680325" y="4519613"/>
            <a:ext cx="0" cy="635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ABB4AE2A-8758-431B-B6D5-B01E2AB65694}"/>
              </a:ext>
            </a:extLst>
          </p:cNvPr>
          <p:cNvCxnSpPr>
            <a:cxnSpLocks/>
          </p:cNvCxnSpPr>
          <p:nvPr/>
        </p:nvCxnSpPr>
        <p:spPr>
          <a:xfrm flipV="1">
            <a:off x="8210550" y="4519613"/>
            <a:ext cx="0" cy="635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C8BF6AFD-738F-4EA9-BA6E-2D33573F2F5A}"/>
              </a:ext>
            </a:extLst>
          </p:cNvPr>
          <p:cNvCxnSpPr>
            <a:cxnSpLocks/>
          </p:cNvCxnSpPr>
          <p:nvPr/>
        </p:nvCxnSpPr>
        <p:spPr>
          <a:xfrm flipV="1">
            <a:off x="8742363" y="4519613"/>
            <a:ext cx="0" cy="635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05433902-7A0C-46A6-81FF-5F47F56BDE05}"/>
              </a:ext>
            </a:extLst>
          </p:cNvPr>
          <p:cNvCxnSpPr>
            <a:cxnSpLocks/>
          </p:cNvCxnSpPr>
          <p:nvPr/>
        </p:nvCxnSpPr>
        <p:spPr>
          <a:xfrm flipV="1">
            <a:off x="9274175" y="4519613"/>
            <a:ext cx="0" cy="635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1F5297AE-61AF-424F-B289-E373DDFAB0A6}"/>
              </a:ext>
            </a:extLst>
          </p:cNvPr>
          <p:cNvCxnSpPr>
            <a:cxnSpLocks/>
          </p:cNvCxnSpPr>
          <p:nvPr/>
        </p:nvCxnSpPr>
        <p:spPr>
          <a:xfrm flipV="1">
            <a:off x="9805988" y="4519613"/>
            <a:ext cx="0" cy="635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TextBox 149">
            <a:extLst>
              <a:ext uri="{FF2B5EF4-FFF2-40B4-BE49-F238E27FC236}">
                <a16:creationId xmlns:a16="http://schemas.microsoft.com/office/drawing/2014/main" id="{246F6349-92A1-48F4-A72E-419C68007D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21513" y="4529138"/>
            <a:ext cx="2540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0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EA3A4B0-D81A-4708-983B-6A697D0BC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16814" y="4529138"/>
            <a:ext cx="32543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20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622B4174-7006-4913-9BA7-21D653855C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48625" y="4529138"/>
            <a:ext cx="32543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40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B88C796F-F218-4059-B1D6-25A21751A34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80439" y="4529138"/>
            <a:ext cx="32543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60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F1240D4E-FD62-449B-AC93-9E2F3EF437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10664" y="4529138"/>
            <a:ext cx="32702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80</a:t>
            </a: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FC6BDA79-64AE-45BD-8771-EF52B5C84A4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607550" y="4529138"/>
            <a:ext cx="3952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100</a:t>
            </a:r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id="{0AA0621C-7ABF-4004-AC48-10F9D61916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69025" y="2243138"/>
            <a:ext cx="10287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yroid cancer</a:t>
            </a:r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189791C2-F9C7-4B68-8C32-542A8D30E4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26175" y="2382838"/>
            <a:ext cx="97155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reast cancer</a:t>
            </a: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06F12243-B0C1-4BE9-B3A1-20E6586AB7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19789" y="2520951"/>
            <a:ext cx="1277937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odgkin lymphoma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AC67F6CB-D5B2-40F7-A070-3F3FD79611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56325" y="2660651"/>
            <a:ext cx="10414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ladder cancer</a:t>
            </a: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13FACFDD-4CC9-4080-B851-BB4F78BF14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41975" y="2798763"/>
            <a:ext cx="155575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n-Hodgkin lymphoma</a:t>
            </a:r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CB34870F-BD39-4C91-B7D2-F03900AD43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05539" y="2938463"/>
            <a:ext cx="99218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idney cancer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BC8BCA9F-4452-4D6A-A5D8-77D63E756E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19801" y="3076575"/>
            <a:ext cx="11779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lorectal cancer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685BD57E-61E1-465C-863F-D7610743D7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89689" y="3216276"/>
            <a:ext cx="808037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eukaemia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DBC5FABC-4A8B-4481-89BC-E9EC689DA0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75351" y="3355976"/>
            <a:ext cx="12223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ng-term dialysis</a:t>
            </a: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DE6D9C4C-931F-40D4-B799-451AC7C1B5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94463" y="3494088"/>
            <a:ext cx="70326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yeloma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C387BE71-900B-44FE-82B2-940BD5362F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83313" y="3633788"/>
            <a:ext cx="1014412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alysis + T2D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97864072-AFDF-4760-88CC-9F93536C59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18251" y="3771901"/>
            <a:ext cx="87947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eart failure</a:t>
            </a: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9CA7F207-4757-4996-A2D4-902FC83165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1239" y="3911601"/>
            <a:ext cx="1106487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omach cancer</a:t>
            </a:r>
          </a:p>
        </p:txBody>
      </p:sp>
      <p:sp>
        <p:nvSpPr>
          <p:cNvPr id="169" name="TextBox 168">
            <a:extLst>
              <a:ext uri="{FF2B5EF4-FFF2-40B4-BE49-F238E27FC236}">
                <a16:creationId xmlns:a16="http://schemas.microsoft.com/office/drawing/2014/main" id="{95135BBA-87C1-4624-994D-B7DFC7D63E0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38825" y="4049713"/>
            <a:ext cx="13589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esophageal cancer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34321FBB-FB01-49F9-BA39-B17637272D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11901" y="4189413"/>
            <a:ext cx="88582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ung cancer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F3AE9218-E0AE-4474-A629-ADD63FDBA6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92813" y="4327525"/>
            <a:ext cx="1204912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ncreatic cancer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5F066975-1EFC-485B-BC2D-ABAE597AFFEF}"/>
              </a:ext>
            </a:extLst>
          </p:cNvPr>
          <p:cNvSpPr/>
          <p:nvPr/>
        </p:nvSpPr>
        <p:spPr>
          <a:xfrm>
            <a:off x="7151688" y="2182814"/>
            <a:ext cx="2620962" cy="92075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33CFEDDA-E1BD-408E-8845-5D3C2C8B29AE}"/>
              </a:ext>
            </a:extLst>
          </p:cNvPr>
          <p:cNvSpPr/>
          <p:nvPr/>
        </p:nvSpPr>
        <p:spPr>
          <a:xfrm>
            <a:off x="7151689" y="2322514"/>
            <a:ext cx="2554287" cy="92075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4" name="Rectangle 173">
            <a:extLst>
              <a:ext uri="{FF2B5EF4-FFF2-40B4-BE49-F238E27FC236}">
                <a16:creationId xmlns:a16="http://schemas.microsoft.com/office/drawing/2014/main" id="{60836D75-9DEF-4F51-95F5-F71157370E97}"/>
              </a:ext>
            </a:extLst>
          </p:cNvPr>
          <p:cNvSpPr/>
          <p:nvPr/>
        </p:nvSpPr>
        <p:spPr>
          <a:xfrm>
            <a:off x="7151688" y="2460626"/>
            <a:ext cx="2393950" cy="93663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1CF082B5-3743-4B97-95D9-B56B3BF38305}"/>
              </a:ext>
            </a:extLst>
          </p:cNvPr>
          <p:cNvSpPr/>
          <p:nvPr/>
        </p:nvSpPr>
        <p:spPr>
          <a:xfrm>
            <a:off x="7151688" y="2600326"/>
            <a:ext cx="2292350" cy="93663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6" name="Rectangle 175">
            <a:extLst>
              <a:ext uri="{FF2B5EF4-FFF2-40B4-BE49-F238E27FC236}">
                <a16:creationId xmlns:a16="http://schemas.microsoft.com/office/drawing/2014/main" id="{1C13C0F6-3AD5-4898-8042-CDCA6B8E8561}"/>
              </a:ext>
            </a:extLst>
          </p:cNvPr>
          <p:cNvSpPr/>
          <p:nvPr/>
        </p:nvSpPr>
        <p:spPr>
          <a:xfrm>
            <a:off x="7151689" y="2740026"/>
            <a:ext cx="2122487" cy="92075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7173435A-562E-4230-B033-4DF10879E4C0}"/>
              </a:ext>
            </a:extLst>
          </p:cNvPr>
          <p:cNvSpPr/>
          <p:nvPr/>
        </p:nvSpPr>
        <p:spPr>
          <a:xfrm>
            <a:off x="7151688" y="2879726"/>
            <a:ext cx="1854200" cy="92075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502272A5-7508-4CAF-ACCB-5F4CAC2B62B2}"/>
              </a:ext>
            </a:extLst>
          </p:cNvPr>
          <p:cNvSpPr/>
          <p:nvPr/>
        </p:nvSpPr>
        <p:spPr>
          <a:xfrm>
            <a:off x="7151688" y="3019426"/>
            <a:ext cx="1827212" cy="92075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5448991B-B5CD-4304-87DC-75603600FE60}"/>
              </a:ext>
            </a:extLst>
          </p:cNvPr>
          <p:cNvSpPr/>
          <p:nvPr/>
        </p:nvSpPr>
        <p:spPr>
          <a:xfrm>
            <a:off x="7151688" y="3159126"/>
            <a:ext cx="1751012" cy="92075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0" name="Rectangle 179">
            <a:extLst>
              <a:ext uri="{FF2B5EF4-FFF2-40B4-BE49-F238E27FC236}">
                <a16:creationId xmlns:a16="http://schemas.microsoft.com/office/drawing/2014/main" id="{E6009BEE-8424-403B-918E-11AC99B62526}"/>
              </a:ext>
            </a:extLst>
          </p:cNvPr>
          <p:cNvSpPr/>
          <p:nvPr/>
        </p:nvSpPr>
        <p:spPr>
          <a:xfrm>
            <a:off x="7151689" y="3297238"/>
            <a:ext cx="1476375" cy="93662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Rectangle 180">
            <a:extLst>
              <a:ext uri="{FF2B5EF4-FFF2-40B4-BE49-F238E27FC236}">
                <a16:creationId xmlns:a16="http://schemas.microsoft.com/office/drawing/2014/main" id="{D27BA319-81B9-41BC-926E-2306D81FCA76}"/>
              </a:ext>
            </a:extLst>
          </p:cNvPr>
          <p:cNvSpPr/>
          <p:nvPr/>
        </p:nvSpPr>
        <p:spPr>
          <a:xfrm>
            <a:off x="7151689" y="3436938"/>
            <a:ext cx="1476375" cy="93662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97B6663C-9A23-4F8B-84C3-851D2147CBC2}"/>
              </a:ext>
            </a:extLst>
          </p:cNvPr>
          <p:cNvSpPr/>
          <p:nvPr/>
        </p:nvSpPr>
        <p:spPr>
          <a:xfrm>
            <a:off x="7151689" y="3576638"/>
            <a:ext cx="1120775" cy="93662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4CB8DCB5-595C-4A6A-95AE-60F08558EE35}"/>
              </a:ext>
            </a:extLst>
          </p:cNvPr>
          <p:cNvSpPr/>
          <p:nvPr/>
        </p:nvSpPr>
        <p:spPr>
          <a:xfrm>
            <a:off x="7151689" y="3716339"/>
            <a:ext cx="1095375" cy="92075"/>
          </a:xfrm>
          <a:prstGeom prst="rect">
            <a:avLst/>
          </a:prstGeom>
          <a:solidFill>
            <a:srgbClr val="E64A0E"/>
          </a:solidFill>
          <a:ln w="9525">
            <a:solidFill>
              <a:srgbClr val="E64A0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4A701C06-E6A8-466D-9539-6C659C544DBF}"/>
              </a:ext>
            </a:extLst>
          </p:cNvPr>
          <p:cNvSpPr/>
          <p:nvPr/>
        </p:nvSpPr>
        <p:spPr>
          <a:xfrm>
            <a:off x="7151688" y="3856039"/>
            <a:ext cx="931862" cy="92075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2A181616-07A4-4BB2-B3F6-83E9CC2ED8E5}"/>
              </a:ext>
            </a:extLst>
          </p:cNvPr>
          <p:cNvSpPr/>
          <p:nvPr/>
        </p:nvSpPr>
        <p:spPr>
          <a:xfrm>
            <a:off x="7151689" y="3995739"/>
            <a:ext cx="661987" cy="92075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6" name="Rectangle 185">
            <a:extLst>
              <a:ext uri="{FF2B5EF4-FFF2-40B4-BE49-F238E27FC236}">
                <a16:creationId xmlns:a16="http://schemas.microsoft.com/office/drawing/2014/main" id="{416B3F3C-CEDD-4CE2-89E5-6957EA01D6BB}"/>
              </a:ext>
            </a:extLst>
          </p:cNvPr>
          <p:cNvSpPr/>
          <p:nvPr/>
        </p:nvSpPr>
        <p:spPr>
          <a:xfrm>
            <a:off x="7151688" y="4133851"/>
            <a:ext cx="461962" cy="93663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7" name="Rectangle 186">
            <a:extLst>
              <a:ext uri="{FF2B5EF4-FFF2-40B4-BE49-F238E27FC236}">
                <a16:creationId xmlns:a16="http://schemas.microsoft.com/office/drawing/2014/main" id="{03A8003A-5496-407C-93E0-9C2B8681A974}"/>
              </a:ext>
            </a:extLst>
          </p:cNvPr>
          <p:cNvSpPr/>
          <p:nvPr/>
        </p:nvSpPr>
        <p:spPr>
          <a:xfrm>
            <a:off x="7151688" y="4273551"/>
            <a:ext cx="438150" cy="93663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C699A2A8-964B-41C9-AA32-1B21D8DAD2B4}"/>
              </a:ext>
            </a:extLst>
          </p:cNvPr>
          <p:cNvSpPr/>
          <p:nvPr/>
        </p:nvSpPr>
        <p:spPr>
          <a:xfrm>
            <a:off x="7151689" y="4413251"/>
            <a:ext cx="141287" cy="93663"/>
          </a:xfrm>
          <a:prstGeom prst="rect">
            <a:avLst/>
          </a:prstGeom>
          <a:solidFill>
            <a:srgbClr val="009FDA"/>
          </a:solidFill>
          <a:ln w="9525"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0A4920AB-46EB-4395-99FE-CF03C0CFDF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67651" y="4678363"/>
            <a:ext cx="116522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altLang="da-DK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% 5-year survival</a:t>
            </a: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0374D648-34BC-4909-8D00-319F9D2736D3}"/>
              </a:ext>
            </a:extLst>
          </p:cNvPr>
          <p:cNvCxnSpPr/>
          <p:nvPr/>
        </p:nvCxnSpPr>
        <p:spPr>
          <a:xfrm>
            <a:off x="7148513" y="2136776"/>
            <a:ext cx="0" cy="243681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8501" name="Group 3">
            <a:extLst>
              <a:ext uri="{FF2B5EF4-FFF2-40B4-BE49-F238E27FC236}">
                <a16:creationId xmlns:a16="http://schemas.microsoft.com/office/drawing/2014/main" id="{39F0FD4F-A662-4688-B938-90A6789A979D}"/>
              </a:ext>
            </a:extLst>
          </p:cNvPr>
          <p:cNvGrpSpPr>
            <a:grpSpLocks/>
          </p:cNvGrpSpPr>
          <p:nvPr/>
        </p:nvGrpSpPr>
        <p:grpSpPr bwMode="auto">
          <a:xfrm>
            <a:off x="2182814" y="1825626"/>
            <a:ext cx="2847975" cy="2498725"/>
            <a:chOff x="1290739" y="1176441"/>
            <a:chExt cx="2848730" cy="2499221"/>
          </a:xfrm>
        </p:grpSpPr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0BC41FE0-14FD-4E94-975D-B067BFF395D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638883" y="1732176"/>
              <a:ext cx="19055" cy="1417919"/>
            </a:xfrm>
            <a:prstGeom prst="line">
              <a:avLst/>
            </a:prstGeom>
            <a:ln w="38100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8505" name="TextBox 192">
              <a:extLst>
                <a:ext uri="{FF2B5EF4-FFF2-40B4-BE49-F238E27FC236}">
                  <a16:creationId xmlns:a16="http://schemas.microsoft.com/office/drawing/2014/main" id="{27BE8D45-AC0A-43D3-899E-F96D7187686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90739" y="1176441"/>
              <a:ext cx="2848730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6842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6842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6842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altLang="da-DK" sz="1600" b="1" i="0" u="none" strike="noStrike" kern="1200" cap="none" spc="0" normalizeH="0" baseline="0" noProof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2017: </a:t>
              </a:r>
              <a:r>
                <a:rPr kumimoji="0" lang="en-CA" altLang="da-DK" sz="1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425 million people</a:t>
              </a:r>
            </a:p>
            <a:p>
              <a:pPr marL="0" marR="0" lvl="0" indent="0" algn="ctr" defTabSz="6842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altLang="da-DK" sz="1600" b="1" i="0" u="none" strike="noStrike" kern="1200" cap="none" spc="0" normalizeH="0" baseline="0" noProof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One </a:t>
              </a:r>
              <a:r>
                <a:rPr kumimoji="0" lang="en-CA" altLang="da-DK" sz="1400" b="0" i="0" u="none" strike="noStrike" kern="1200" cap="none" spc="0" normalizeH="0" baseline="0" noProof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in</a:t>
              </a:r>
              <a:r>
                <a:rPr kumimoji="0" lang="en-CA" altLang="da-DK" sz="1600" b="1" i="0" u="none" strike="noStrike" kern="1200" cap="none" spc="0" normalizeH="0" baseline="0" noProof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11 adults </a:t>
              </a:r>
              <a:r>
                <a:rPr kumimoji="0" lang="en-CA" altLang="da-DK" sz="1400" b="0" i="0" u="none" strike="noStrike" kern="1200" cap="none" spc="0" normalizeH="0" baseline="0" noProof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had diabetes</a:t>
              </a:r>
              <a:r>
                <a:rPr kumimoji="0" lang="en-CA" altLang="da-DK" sz="1400" b="1" i="0" u="none" strike="noStrike" kern="1200" cap="none" spc="0" normalizeH="0" baseline="0" noProof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195" name="TextBox 194">
              <a:extLst>
                <a:ext uri="{FF2B5EF4-FFF2-40B4-BE49-F238E27FC236}">
                  <a16:creationId xmlns:a16="http://schemas.microsoft.com/office/drawing/2014/main" id="{6E0E2CD7-72A5-496C-962F-EE558B5F547F}"/>
                </a:ext>
              </a:extLst>
            </p:cNvPr>
            <p:cNvSpPr txBox="1"/>
            <p:nvPr/>
          </p:nvSpPr>
          <p:spPr>
            <a:xfrm>
              <a:off x="1397129" y="3121515"/>
              <a:ext cx="2547025" cy="55414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045: </a:t>
              </a:r>
              <a:r>
                <a:rPr kumimoji="0" lang="en-CA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629 million people</a:t>
              </a:r>
            </a:p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ill have diabetes</a:t>
              </a:r>
              <a:r>
                <a:rPr kumimoji="0" lang="en-CA" sz="14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  <a:r>
                <a:rPr kumimoji="0" lang="en-CA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9FD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  <a:endParaRPr kumimoji="0" lang="en-CA" sz="1050" b="0" i="0" u="none" strike="noStrike" kern="1200" cap="none" spc="0" normalizeH="0" baseline="0" noProof="0" dirty="0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8" name="Flowchart: Connector 197">
              <a:extLst>
                <a:ext uri="{FF2B5EF4-FFF2-40B4-BE49-F238E27FC236}">
                  <a16:creationId xmlns:a16="http://schemas.microsoft.com/office/drawing/2014/main" id="{CB2ACC33-7799-48DB-A860-8CB4C2C91DAA}"/>
                </a:ext>
              </a:extLst>
            </p:cNvPr>
            <p:cNvSpPr/>
            <p:nvPr/>
          </p:nvSpPr>
          <p:spPr>
            <a:xfrm>
              <a:off x="2079935" y="1841736"/>
              <a:ext cx="1119485" cy="1116234"/>
            </a:xfrm>
            <a:prstGeom prst="flowChartConnector">
              <a:avLst/>
            </a:prstGeom>
            <a:solidFill>
              <a:srgbClr val="E64A0E"/>
            </a:solidFill>
            <a:ln>
              <a:noFill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marL="0" marR="0" lvl="0" indent="0" algn="ct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8% increase</a:t>
              </a:r>
            </a:p>
          </p:txBody>
        </p:sp>
      </p:grp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6F238F94-815A-4131-B88F-20B162C50252}"/>
              </a:ext>
            </a:extLst>
          </p:cNvPr>
          <p:cNvSpPr/>
          <p:nvPr/>
        </p:nvSpPr>
        <p:spPr>
          <a:xfrm>
            <a:off x="1625600" y="4919664"/>
            <a:ext cx="8891588" cy="395287"/>
          </a:xfrm>
          <a:prstGeom prst="roundRect">
            <a:avLst/>
          </a:prstGeom>
          <a:solidFill>
            <a:srgbClr val="009FDA"/>
          </a:solidFill>
          <a:ln>
            <a:solidFill>
              <a:srgbClr val="009F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KD occurs in approximately 40% of adults with T2D, and represents a huge burden in this population</a:t>
            </a:r>
          </a:p>
        </p:txBody>
      </p:sp>
      <p:sp>
        <p:nvSpPr>
          <p:cNvPr id="488503" name="Rectangle 59">
            <a:extLst>
              <a:ext uri="{FF2B5EF4-FFF2-40B4-BE49-F238E27FC236}">
                <a16:creationId xmlns:a16="http://schemas.microsoft.com/office/drawing/2014/main" id="{D4B207A5-E4ED-4883-92F6-DB12302472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1963" y="5775325"/>
            <a:ext cx="75311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da-DK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sented at the 56</a:t>
            </a:r>
            <a:r>
              <a:rPr kumimoji="0" lang="en-GB" altLang="da-DK" sz="8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</a:t>
            </a:r>
            <a:r>
              <a:rPr kumimoji="0" lang="en-GB" altLang="da-DK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European Renal Association - European Dialysis and Transplant Association (ERA-EDTA) Congress, 13–16 June 2019, Budapest, Hungary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1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2" grpId="0"/>
      <p:bldP spid="143" grpId="0"/>
      <p:bldP spid="150" grpId="0"/>
      <p:bldP spid="151" grpId="0"/>
      <p:bldP spid="152" grpId="0"/>
      <p:bldP spid="153" grpId="0"/>
      <p:bldP spid="154" grpId="0"/>
      <p:bldP spid="155" grpId="0"/>
      <p:bldP spid="156" grpId="0"/>
      <p:bldP spid="157" grpId="0"/>
      <p:bldP spid="158" grpId="0"/>
      <p:bldP spid="159" grpId="0"/>
      <p:bldP spid="160" grpId="0"/>
      <p:bldP spid="161" grpId="0"/>
      <p:bldP spid="162" grpId="0"/>
      <p:bldP spid="163" grpId="0"/>
      <p:bldP spid="164" grpId="0"/>
      <p:bldP spid="165" grpId="0"/>
      <p:bldP spid="166" grpId="0"/>
      <p:bldP spid="167" grpId="0"/>
      <p:bldP spid="168" grpId="0"/>
      <p:bldP spid="169" grpId="0"/>
      <p:bldP spid="170" grpId="0"/>
      <p:bldP spid="171" grpId="0"/>
      <p:bldP spid="172" grpId="0" animBg="1"/>
      <p:bldP spid="173" grpId="0" animBg="1"/>
      <p:bldP spid="174" grpId="0" animBg="1"/>
      <p:bldP spid="175" grpId="0" animBg="1"/>
      <p:bldP spid="176" grpId="0" animBg="1"/>
      <p:bldP spid="177" grpId="0" animBg="1"/>
      <p:bldP spid="178" grpId="0" animBg="1"/>
      <p:bldP spid="179" grpId="0" animBg="1"/>
      <p:bldP spid="180" grpId="0" animBg="1"/>
      <p:bldP spid="181" grpId="0" animBg="1"/>
      <p:bldP spid="182" grpId="0" animBg="1"/>
      <p:bldP spid="183" grpId="0" animBg="1"/>
      <p:bldP spid="184" grpId="0" animBg="1"/>
      <p:bldP spid="185" grpId="0" animBg="1"/>
      <p:bldP spid="186" grpId="0" animBg="1"/>
      <p:bldP spid="187" grpId="0" animBg="1"/>
      <p:bldP spid="188" grpId="0" animBg="1"/>
      <p:bldP spid="189" grpId="0"/>
      <p:bldP spid="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>
            <a:extLst>
              <a:ext uri="{FF2B5EF4-FFF2-40B4-BE49-F238E27FC236}">
                <a16:creationId xmlns:a16="http://schemas.microsoft.com/office/drawing/2014/main" id="{3A1FCBB0-FA84-7216-3690-18F21AF31A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4256" y="1033128"/>
            <a:ext cx="9583487" cy="4791744"/>
          </a:xfrm>
          <a:prstGeom prst="rect">
            <a:avLst/>
          </a:prstGeom>
        </p:spPr>
      </p:pic>
      <p:sp>
        <p:nvSpPr>
          <p:cNvPr id="7" name="Tekstfelt 6">
            <a:extLst>
              <a:ext uri="{FF2B5EF4-FFF2-40B4-BE49-F238E27FC236}">
                <a16:creationId xmlns:a16="http://schemas.microsoft.com/office/drawing/2014/main" id="{4DF84889-7E9C-A79A-4653-F0590435EA66}"/>
              </a:ext>
            </a:extLst>
          </p:cNvPr>
          <p:cNvSpPr txBox="1"/>
          <p:nvPr/>
        </p:nvSpPr>
        <p:spPr>
          <a:xfrm>
            <a:off x="6788989" y="6277443"/>
            <a:ext cx="38301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b="1" dirty="0"/>
              <a:t>www.kidney-international.org</a:t>
            </a:r>
          </a:p>
        </p:txBody>
      </p:sp>
    </p:spTree>
    <p:extLst>
      <p:ext uri="{BB962C8B-B14F-4D97-AF65-F5344CB8AC3E}">
        <p14:creationId xmlns:p14="http://schemas.microsoft.com/office/powerpoint/2010/main" val="5493716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 bwMode="auto">
          <a:xfrm flipV="1">
            <a:off x="9651658" y="1544754"/>
            <a:ext cx="0" cy="4680000"/>
          </a:xfrm>
          <a:prstGeom prst="line">
            <a:avLst/>
          </a:prstGeom>
          <a:solidFill>
            <a:srgbClr val="303A5F"/>
          </a:solidFill>
          <a:ln w="28575" cap="flat" cmpd="sng" algn="ctr">
            <a:solidFill>
              <a:srgbClr val="303A5F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C134BF11-FACD-427A-9861-D471D64DBE46}"/>
              </a:ext>
            </a:extLst>
          </p:cNvPr>
          <p:cNvSpPr/>
          <p:nvPr/>
        </p:nvSpPr>
        <p:spPr bwMode="auto">
          <a:xfrm>
            <a:off x="110530" y="4297556"/>
            <a:ext cx="11997563" cy="2077065"/>
          </a:xfrm>
          <a:prstGeom prst="rect">
            <a:avLst/>
          </a:prstGeom>
          <a:solidFill>
            <a:srgbClr val="FF7C48">
              <a:lumMod val="40000"/>
              <a:lumOff val="60000"/>
              <a:alpha val="38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nical trials in chronic kidney diseas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13C5CF-DA56-4EF8-8C25-5F2A78B0B06B}"/>
              </a:ext>
            </a:extLst>
          </p:cNvPr>
          <p:cNvSpPr/>
          <p:nvPr/>
        </p:nvSpPr>
        <p:spPr bwMode="auto">
          <a:xfrm>
            <a:off x="97218" y="1813926"/>
            <a:ext cx="11997563" cy="2485770"/>
          </a:xfrm>
          <a:prstGeom prst="rect">
            <a:avLst/>
          </a:prstGeom>
          <a:solidFill>
            <a:srgbClr val="64BFF6">
              <a:lumMod val="40000"/>
              <a:lumOff val="60000"/>
              <a:alpha val="38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95F27ECC-F2F9-45CF-8B4C-DACC5BEAB34A}"/>
              </a:ext>
            </a:extLst>
          </p:cNvPr>
          <p:cNvCxnSpPr>
            <a:cxnSpLocks/>
          </p:cNvCxnSpPr>
          <p:nvPr/>
        </p:nvCxnSpPr>
        <p:spPr>
          <a:xfrm flipV="1">
            <a:off x="110530" y="4148396"/>
            <a:ext cx="12081470" cy="22912"/>
          </a:xfrm>
          <a:prstGeom prst="straightConnector1">
            <a:avLst/>
          </a:prstGeom>
          <a:noFill/>
          <a:ln w="57150" cap="flat" cmpd="sng" algn="ctr">
            <a:solidFill>
              <a:srgbClr val="303A5F"/>
            </a:solidFill>
            <a:prstDash val="solid"/>
            <a:tailEnd type="triangle"/>
          </a:ln>
          <a:effectLst/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34005722-D5A5-49D0-BA84-722B7F9AC412}"/>
              </a:ext>
            </a:extLst>
          </p:cNvPr>
          <p:cNvSpPr txBox="1"/>
          <p:nvPr/>
        </p:nvSpPr>
        <p:spPr>
          <a:xfrm>
            <a:off x="589641" y="3998001"/>
            <a:ext cx="524503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9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6F71B7-7283-41F7-958D-0375CEA863C6}"/>
              </a:ext>
            </a:extLst>
          </p:cNvPr>
          <p:cNvSpPr txBox="1"/>
          <p:nvPr/>
        </p:nvSpPr>
        <p:spPr>
          <a:xfrm>
            <a:off x="5028070" y="3998001"/>
            <a:ext cx="524503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6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14A3D09-BC22-4533-984B-B11BF7A8CAB0}"/>
              </a:ext>
            </a:extLst>
          </p:cNvPr>
          <p:cNvSpPr txBox="1"/>
          <p:nvPr/>
        </p:nvSpPr>
        <p:spPr>
          <a:xfrm>
            <a:off x="6267388" y="3998001"/>
            <a:ext cx="524503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9A6C649-B884-4A21-9E3A-93F82C21E9ED}"/>
              </a:ext>
            </a:extLst>
          </p:cNvPr>
          <p:cNvSpPr txBox="1"/>
          <p:nvPr/>
        </p:nvSpPr>
        <p:spPr>
          <a:xfrm>
            <a:off x="7506706" y="3998001"/>
            <a:ext cx="524503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4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F1A8808-1569-4E01-B251-BBAD5A771FCD}"/>
              </a:ext>
            </a:extLst>
          </p:cNvPr>
          <p:cNvSpPr txBox="1"/>
          <p:nvPr/>
        </p:nvSpPr>
        <p:spPr>
          <a:xfrm>
            <a:off x="8746024" y="3998001"/>
            <a:ext cx="524503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8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9CA5B3-E74C-4649-B097-F226E37A4B72}"/>
              </a:ext>
            </a:extLst>
          </p:cNvPr>
          <p:cNvSpPr txBox="1"/>
          <p:nvPr/>
        </p:nvSpPr>
        <p:spPr>
          <a:xfrm>
            <a:off x="1310117" y="3998001"/>
            <a:ext cx="524503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9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AC576B-D004-46DC-8D1B-7BD49A8F2692}"/>
              </a:ext>
            </a:extLst>
          </p:cNvPr>
          <p:cNvSpPr txBox="1"/>
          <p:nvPr/>
        </p:nvSpPr>
        <p:spPr>
          <a:xfrm>
            <a:off x="2549435" y="3998001"/>
            <a:ext cx="524503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98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C35096C-77BF-4690-825B-ECED3CEB237F}"/>
              </a:ext>
            </a:extLst>
          </p:cNvPr>
          <p:cNvSpPr txBox="1"/>
          <p:nvPr/>
        </p:nvSpPr>
        <p:spPr>
          <a:xfrm>
            <a:off x="3788752" y="3998001"/>
            <a:ext cx="524503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9EA2B0D-8F0D-4BF6-84B5-1C07638CDD19}"/>
              </a:ext>
            </a:extLst>
          </p:cNvPr>
          <p:cNvSpPr txBox="1"/>
          <p:nvPr/>
        </p:nvSpPr>
        <p:spPr>
          <a:xfrm>
            <a:off x="9985341" y="3998001"/>
            <a:ext cx="524503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</a:t>
            </a:r>
          </a:p>
        </p:txBody>
      </p:sp>
      <p:sp>
        <p:nvSpPr>
          <p:cNvPr id="18" name="Rectangle: Rounded Corners 35">
            <a:extLst>
              <a:ext uri="{FF2B5EF4-FFF2-40B4-BE49-F238E27FC236}">
                <a16:creationId xmlns:a16="http://schemas.microsoft.com/office/drawing/2014/main" id="{04770182-0B7A-4DB0-8200-5DE8AC9DA0B1}"/>
              </a:ext>
            </a:extLst>
          </p:cNvPr>
          <p:cNvSpPr/>
          <p:nvPr/>
        </p:nvSpPr>
        <p:spPr>
          <a:xfrm>
            <a:off x="3051674" y="2700427"/>
            <a:ext cx="1460379" cy="327358"/>
          </a:xfrm>
          <a:prstGeom prst="roundRect">
            <a:avLst>
              <a:gd name="adj" fmla="val 50000"/>
            </a:avLst>
          </a:prstGeom>
          <a:solidFill>
            <a:srgbClr val="64BFF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NAAL</a:t>
            </a:r>
            <a:r>
              <a:rPr kumimoji="0" lang="en-US" sz="12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: Rounded Corners 37">
            <a:extLst>
              <a:ext uri="{FF2B5EF4-FFF2-40B4-BE49-F238E27FC236}">
                <a16:creationId xmlns:a16="http://schemas.microsoft.com/office/drawing/2014/main" id="{D9358601-09F4-46EE-A8D4-F5A2BB2E3400}"/>
              </a:ext>
            </a:extLst>
          </p:cNvPr>
          <p:cNvSpPr/>
          <p:nvPr/>
        </p:nvSpPr>
        <p:spPr>
          <a:xfrm>
            <a:off x="3054197" y="3515272"/>
            <a:ext cx="1460379" cy="327358"/>
          </a:xfrm>
          <a:prstGeom prst="roundRect">
            <a:avLst>
              <a:gd name="adj" fmla="val 50000"/>
            </a:avLst>
          </a:prstGeom>
          <a:solidFill>
            <a:srgbClr val="64BFF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NT</a:t>
            </a:r>
            <a:r>
              <a:rPr kumimoji="0" lang="en-US" sz="12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</a:p>
        </p:txBody>
      </p:sp>
      <p:sp>
        <p:nvSpPr>
          <p:cNvPr id="20" name="Rectangle: Rounded Corners 39">
            <a:extLst>
              <a:ext uri="{FF2B5EF4-FFF2-40B4-BE49-F238E27FC236}">
                <a16:creationId xmlns:a16="http://schemas.microsoft.com/office/drawing/2014/main" id="{F3E16AA1-B6B3-4120-BFC4-872929A36CBA}"/>
              </a:ext>
            </a:extLst>
          </p:cNvPr>
          <p:cNvSpPr/>
          <p:nvPr/>
        </p:nvSpPr>
        <p:spPr>
          <a:xfrm>
            <a:off x="2743405" y="3107850"/>
            <a:ext cx="1460379" cy="327358"/>
          </a:xfrm>
          <a:prstGeom prst="roundRect">
            <a:avLst>
              <a:gd name="adj" fmla="val 50000"/>
            </a:avLst>
          </a:prstGeom>
          <a:solidFill>
            <a:srgbClr val="303A5F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CRO-HOPE</a:t>
            </a:r>
            <a:r>
              <a:rPr kumimoji="0" lang="en-US" sz="12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C6CFA8D-117D-4E2A-99E2-4FE61322CAC3}"/>
              </a:ext>
            </a:extLst>
          </p:cNvPr>
          <p:cNvSpPr txBox="1"/>
          <p:nvPr/>
        </p:nvSpPr>
        <p:spPr>
          <a:xfrm>
            <a:off x="206234" y="1722906"/>
            <a:ext cx="500137" cy="369332"/>
          </a:xfrm>
          <a:prstGeom prst="rect">
            <a:avLst/>
          </a:prstGeom>
          <a:noFill/>
        </p:spPr>
        <p:txBody>
          <a:bodyPr wrap="none" lIns="0" r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KD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8CC1587-3090-40AA-A5E4-CF97EF18BFC0}"/>
              </a:ext>
            </a:extLst>
          </p:cNvPr>
          <p:cNvSpPr txBox="1"/>
          <p:nvPr/>
        </p:nvSpPr>
        <p:spPr>
          <a:xfrm>
            <a:off x="209490" y="4270892"/>
            <a:ext cx="666849" cy="369332"/>
          </a:xfrm>
          <a:prstGeom prst="rect">
            <a:avLst/>
          </a:prstGeom>
          <a:noFill/>
        </p:spPr>
        <p:txBody>
          <a:bodyPr wrap="none" lIns="0" rIns="0" rtlCol="0" anchor="ctr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DKD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18E7082-F157-434C-85C5-F941684E09C4}"/>
              </a:ext>
            </a:extLst>
          </p:cNvPr>
          <p:cNvGrpSpPr/>
          <p:nvPr/>
        </p:nvGrpSpPr>
        <p:grpSpPr>
          <a:xfrm>
            <a:off x="157940" y="2401572"/>
            <a:ext cx="770365" cy="230832"/>
            <a:chOff x="339177" y="2244890"/>
            <a:chExt cx="797596" cy="253849"/>
          </a:xfrm>
        </p:grpSpPr>
        <p:sp>
          <p:nvSpPr>
            <p:cNvPr id="24" name="Rectangle: Rounded Corners 57">
              <a:extLst>
                <a:ext uri="{FF2B5EF4-FFF2-40B4-BE49-F238E27FC236}">
                  <a16:creationId xmlns:a16="http://schemas.microsoft.com/office/drawing/2014/main" id="{ED089AF6-5635-4437-B06B-0F249B048BB7}"/>
                </a:ext>
              </a:extLst>
            </p:cNvPr>
            <p:cNvSpPr/>
            <p:nvPr/>
          </p:nvSpPr>
          <p:spPr>
            <a:xfrm>
              <a:off x="339177" y="2305566"/>
              <a:ext cx="121352" cy="121352"/>
            </a:xfrm>
            <a:prstGeom prst="roundRect">
              <a:avLst/>
            </a:prstGeom>
            <a:solidFill>
              <a:srgbClr val="64BFF6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833ADEB5-3164-4B70-967F-5D686E10B235}"/>
                </a:ext>
              </a:extLst>
            </p:cNvPr>
            <p:cNvSpPr txBox="1"/>
            <p:nvPr/>
          </p:nvSpPr>
          <p:spPr>
            <a:xfrm>
              <a:off x="460529" y="2244890"/>
              <a:ext cx="676244" cy="253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RB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36AF49B-5AAE-44ED-A2BC-B5B54F9068A1}"/>
              </a:ext>
            </a:extLst>
          </p:cNvPr>
          <p:cNvGrpSpPr/>
          <p:nvPr/>
        </p:nvGrpSpPr>
        <p:grpSpPr>
          <a:xfrm>
            <a:off x="157940" y="2992797"/>
            <a:ext cx="1286120" cy="230832"/>
            <a:chOff x="339177" y="1917273"/>
            <a:chExt cx="1331582" cy="253849"/>
          </a:xfrm>
        </p:grpSpPr>
        <p:sp>
          <p:nvSpPr>
            <p:cNvPr id="27" name="Rectangle: Rounded Corners 52">
              <a:extLst>
                <a:ext uri="{FF2B5EF4-FFF2-40B4-BE49-F238E27FC236}">
                  <a16:creationId xmlns:a16="http://schemas.microsoft.com/office/drawing/2014/main" id="{7C2DEC1F-783A-4CA5-A071-60B9C7CF7386}"/>
                </a:ext>
              </a:extLst>
            </p:cNvPr>
            <p:cNvSpPr/>
            <p:nvPr/>
          </p:nvSpPr>
          <p:spPr>
            <a:xfrm>
              <a:off x="339177" y="1975830"/>
              <a:ext cx="121352" cy="121352"/>
            </a:xfrm>
            <a:prstGeom prst="roundRect">
              <a:avLst/>
            </a:prstGeom>
            <a:solidFill>
              <a:srgbClr val="E1003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C38C704-7E82-4E2E-99EE-8B48DE400936}"/>
                </a:ext>
              </a:extLst>
            </p:cNvPr>
            <p:cNvSpPr txBox="1"/>
            <p:nvPr/>
          </p:nvSpPr>
          <p:spPr>
            <a:xfrm>
              <a:off x="460528" y="1917273"/>
              <a:ext cx="1210231" cy="253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GLT2 inhibitor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17FF56A-621D-4E7C-947B-A1944CF5B9C6}"/>
              </a:ext>
            </a:extLst>
          </p:cNvPr>
          <p:cNvGrpSpPr/>
          <p:nvPr/>
        </p:nvGrpSpPr>
        <p:grpSpPr>
          <a:xfrm>
            <a:off x="157940" y="2105959"/>
            <a:ext cx="1157091" cy="230832"/>
            <a:chOff x="1167530" y="2248304"/>
            <a:chExt cx="1197992" cy="253849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BFC109B-1C05-4A83-AECB-40D270BB0BB8}"/>
                </a:ext>
              </a:extLst>
            </p:cNvPr>
            <p:cNvSpPr txBox="1"/>
            <p:nvPr/>
          </p:nvSpPr>
          <p:spPr>
            <a:xfrm>
              <a:off x="1288882" y="2248304"/>
              <a:ext cx="1076640" cy="253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E inhibitor</a:t>
              </a:r>
            </a:p>
          </p:txBody>
        </p:sp>
        <p:sp>
          <p:nvSpPr>
            <p:cNvPr id="31" name="Rectangle: Rounded Corners 57">
              <a:extLst>
                <a:ext uri="{FF2B5EF4-FFF2-40B4-BE49-F238E27FC236}">
                  <a16:creationId xmlns:a16="http://schemas.microsoft.com/office/drawing/2014/main" id="{2CA613C4-C85C-4684-8154-78ED7A5C6333}"/>
                </a:ext>
              </a:extLst>
            </p:cNvPr>
            <p:cNvSpPr/>
            <p:nvPr/>
          </p:nvSpPr>
          <p:spPr>
            <a:xfrm>
              <a:off x="1167530" y="2308756"/>
              <a:ext cx="121352" cy="121352"/>
            </a:xfrm>
            <a:prstGeom prst="roundRect">
              <a:avLst/>
            </a:prstGeom>
            <a:solidFill>
              <a:srgbClr val="303A5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B5D8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7BD8E05-0BF6-4A9D-BCF4-5D1E888F51E0}"/>
              </a:ext>
            </a:extLst>
          </p:cNvPr>
          <p:cNvGrpSpPr/>
          <p:nvPr/>
        </p:nvGrpSpPr>
        <p:grpSpPr>
          <a:xfrm>
            <a:off x="157940" y="4607664"/>
            <a:ext cx="1035526" cy="230832"/>
            <a:chOff x="339177" y="4485672"/>
            <a:chExt cx="1072130" cy="253849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50850696-6AF1-4492-988F-5D1D3429C8D3}"/>
                </a:ext>
              </a:extLst>
            </p:cNvPr>
            <p:cNvSpPr txBox="1"/>
            <p:nvPr/>
          </p:nvSpPr>
          <p:spPr>
            <a:xfrm>
              <a:off x="460529" y="4485672"/>
              <a:ext cx="950778" cy="253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CE inhibitor</a:t>
              </a:r>
            </a:p>
          </p:txBody>
        </p:sp>
        <p:sp>
          <p:nvSpPr>
            <p:cNvPr id="35" name="Rectangle: Rounded Corners 57">
              <a:extLst>
                <a:ext uri="{FF2B5EF4-FFF2-40B4-BE49-F238E27FC236}">
                  <a16:creationId xmlns:a16="http://schemas.microsoft.com/office/drawing/2014/main" id="{7942F22E-2D31-4DB3-9E61-A70EA3E25B87}"/>
                </a:ext>
              </a:extLst>
            </p:cNvPr>
            <p:cNvSpPr/>
            <p:nvPr/>
          </p:nvSpPr>
          <p:spPr>
            <a:xfrm>
              <a:off x="339177" y="4546124"/>
              <a:ext cx="121352" cy="121352"/>
            </a:xfrm>
            <a:prstGeom prst="roundRect">
              <a:avLst/>
            </a:prstGeom>
            <a:solidFill>
              <a:srgbClr val="303A5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B5D82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6" name="Rectangle: Rounded Corners 38">
            <a:extLst>
              <a:ext uri="{FF2B5EF4-FFF2-40B4-BE49-F238E27FC236}">
                <a16:creationId xmlns:a16="http://schemas.microsoft.com/office/drawing/2014/main" id="{54AFEBDE-77EC-4DDC-93E5-51E94E7078E3}"/>
              </a:ext>
            </a:extLst>
          </p:cNvPr>
          <p:cNvSpPr/>
          <p:nvPr/>
        </p:nvSpPr>
        <p:spPr>
          <a:xfrm>
            <a:off x="1491205" y="2293005"/>
            <a:ext cx="1460379" cy="392830"/>
          </a:xfrm>
          <a:prstGeom prst="roundRect">
            <a:avLst>
              <a:gd name="adj" fmla="val 50000"/>
            </a:avLst>
          </a:prstGeom>
          <a:solidFill>
            <a:srgbClr val="303A5F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nical trial</a:t>
            </a:r>
            <a:b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sonopril</a:t>
            </a:r>
            <a:r>
              <a:rPr kumimoji="0" lang="en-GB" sz="12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,a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tangle: Rounded Corners 39">
            <a:extLst>
              <a:ext uri="{FF2B5EF4-FFF2-40B4-BE49-F238E27FC236}">
                <a16:creationId xmlns:a16="http://schemas.microsoft.com/office/drawing/2014/main" id="{66FFBCC9-F239-4384-8A6C-4D1151FCB34B}"/>
              </a:ext>
            </a:extLst>
          </p:cNvPr>
          <p:cNvSpPr/>
          <p:nvPr/>
        </p:nvSpPr>
        <p:spPr>
          <a:xfrm>
            <a:off x="761015" y="3203969"/>
            <a:ext cx="1460379" cy="392830"/>
          </a:xfrm>
          <a:prstGeom prst="roundRect">
            <a:avLst>
              <a:gd name="adj" fmla="val 50000"/>
            </a:avLst>
          </a:prstGeom>
          <a:solidFill>
            <a:srgbClr val="303A5F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nical trial</a:t>
            </a:r>
            <a:br>
              <a:rPr kumimoji="0" lang="en-GB" sz="12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opril</a:t>
            </a:r>
            <a:r>
              <a:rPr kumimoji="0" lang="en-GB" sz="12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ectangle: Rounded Corners 75">
            <a:extLst>
              <a:ext uri="{FF2B5EF4-FFF2-40B4-BE49-F238E27FC236}">
                <a16:creationId xmlns:a16="http://schemas.microsoft.com/office/drawing/2014/main" id="{1CCDAF9C-9021-450E-ABB6-987115751DEE}"/>
              </a:ext>
            </a:extLst>
          </p:cNvPr>
          <p:cNvSpPr/>
          <p:nvPr/>
        </p:nvSpPr>
        <p:spPr>
          <a:xfrm>
            <a:off x="8746024" y="2458912"/>
            <a:ext cx="1460379" cy="327358"/>
          </a:xfrm>
          <a:prstGeom prst="roundRect">
            <a:avLst>
              <a:gd name="adj" fmla="val 50000"/>
            </a:avLst>
          </a:prstGeom>
          <a:solidFill>
            <a:srgbClr val="E1003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ENCE</a:t>
            </a:r>
            <a:r>
              <a:rPr kumimoji="0" lang="en-US" sz="12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Rectangle: Rounded Corners 75">
            <a:extLst>
              <a:ext uri="{FF2B5EF4-FFF2-40B4-BE49-F238E27FC236}">
                <a16:creationId xmlns:a16="http://schemas.microsoft.com/office/drawing/2014/main" id="{5BF4CACD-7D7C-4097-8231-FBAFE009CC8D}"/>
              </a:ext>
            </a:extLst>
          </p:cNvPr>
          <p:cNvSpPr/>
          <p:nvPr/>
        </p:nvSpPr>
        <p:spPr>
          <a:xfrm>
            <a:off x="9021259" y="3362174"/>
            <a:ext cx="1529921" cy="327358"/>
          </a:xfrm>
          <a:prstGeom prst="roundRect">
            <a:avLst>
              <a:gd name="adj" fmla="val 50000"/>
            </a:avLst>
          </a:prstGeom>
          <a:solidFill>
            <a:srgbClr val="9C629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DELIO-DKD</a:t>
            </a:r>
            <a:r>
              <a:rPr kumimoji="0" lang="en-US" sz="12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B1D8E0F-6C58-4B6F-AEBC-D433A0BC8F4B}"/>
              </a:ext>
            </a:extLst>
          </p:cNvPr>
          <p:cNvGrpSpPr/>
          <p:nvPr/>
        </p:nvGrpSpPr>
        <p:grpSpPr>
          <a:xfrm>
            <a:off x="157940" y="3288411"/>
            <a:ext cx="1286120" cy="230832"/>
            <a:chOff x="339177" y="1917273"/>
            <a:chExt cx="1331582" cy="253849"/>
          </a:xfrm>
        </p:grpSpPr>
        <p:sp>
          <p:nvSpPr>
            <p:cNvPr id="41" name="Rectangle: Rounded Corners 52">
              <a:extLst>
                <a:ext uri="{FF2B5EF4-FFF2-40B4-BE49-F238E27FC236}">
                  <a16:creationId xmlns:a16="http://schemas.microsoft.com/office/drawing/2014/main" id="{30F124A0-4A01-4539-8B6E-485FF47BB5DD}"/>
                </a:ext>
              </a:extLst>
            </p:cNvPr>
            <p:cNvSpPr/>
            <p:nvPr/>
          </p:nvSpPr>
          <p:spPr>
            <a:xfrm>
              <a:off x="339177" y="1975830"/>
              <a:ext cx="121352" cy="121352"/>
            </a:xfrm>
            <a:prstGeom prst="roundRect">
              <a:avLst/>
            </a:prstGeom>
            <a:solidFill>
              <a:srgbClr val="9C629A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1FC10EA7-3057-4214-A70C-8AE03FBFA29D}"/>
                </a:ext>
              </a:extLst>
            </p:cNvPr>
            <p:cNvSpPr txBox="1"/>
            <p:nvPr/>
          </p:nvSpPr>
          <p:spPr>
            <a:xfrm>
              <a:off x="460528" y="1917273"/>
              <a:ext cx="1210231" cy="253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RA</a:t>
              </a:r>
            </a:p>
          </p:txBody>
        </p:sp>
      </p:grpSp>
      <p:sp>
        <p:nvSpPr>
          <p:cNvPr id="43" name="Rectangle: Rounded Corners 75">
            <a:extLst>
              <a:ext uri="{FF2B5EF4-FFF2-40B4-BE49-F238E27FC236}">
                <a16:creationId xmlns:a16="http://schemas.microsoft.com/office/drawing/2014/main" id="{3F01C5F3-098B-47D0-9A1E-C08F22338916}"/>
              </a:ext>
            </a:extLst>
          </p:cNvPr>
          <p:cNvSpPr/>
          <p:nvPr/>
        </p:nvSpPr>
        <p:spPr>
          <a:xfrm>
            <a:off x="9255151" y="4290350"/>
            <a:ext cx="1460379" cy="327358"/>
          </a:xfrm>
          <a:prstGeom prst="roundRect">
            <a:avLst>
              <a:gd name="adj" fmla="val 50000"/>
            </a:avLst>
          </a:prstGeom>
          <a:solidFill>
            <a:srgbClr val="E1003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PA-CKD</a:t>
            </a:r>
            <a:r>
              <a:rPr kumimoji="0" lang="en-US" sz="12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1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ctangle: Rounded Corners 39">
            <a:extLst>
              <a:ext uri="{FF2B5EF4-FFF2-40B4-BE49-F238E27FC236}">
                <a16:creationId xmlns:a16="http://schemas.microsoft.com/office/drawing/2014/main" id="{0CDDC96B-DFBF-4531-8D73-6FB5AC36EA43}"/>
              </a:ext>
            </a:extLst>
          </p:cNvPr>
          <p:cNvSpPr/>
          <p:nvPr/>
        </p:nvSpPr>
        <p:spPr>
          <a:xfrm>
            <a:off x="8291070" y="2958756"/>
            <a:ext cx="1460379" cy="327358"/>
          </a:xfrm>
          <a:prstGeom prst="roundRect">
            <a:avLst>
              <a:gd name="adj" fmla="val 50000"/>
            </a:avLst>
          </a:prstGeom>
          <a:solidFill>
            <a:srgbClr val="F4B528"/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NAR</a:t>
            </a:r>
            <a:r>
              <a:rPr kumimoji="0" lang="en-US" sz="1200" b="1" i="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9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C524F909-BB10-4E55-B8F7-8F6CE3B77A04}"/>
              </a:ext>
            </a:extLst>
          </p:cNvPr>
          <p:cNvGrpSpPr/>
          <p:nvPr/>
        </p:nvGrpSpPr>
        <p:grpSpPr>
          <a:xfrm>
            <a:off x="157940" y="2697184"/>
            <a:ext cx="770365" cy="230832"/>
            <a:chOff x="339177" y="2244890"/>
            <a:chExt cx="797596" cy="253849"/>
          </a:xfrm>
        </p:grpSpPr>
        <p:sp>
          <p:nvSpPr>
            <p:cNvPr id="46" name="Rectangle: Rounded Corners 57">
              <a:extLst>
                <a:ext uri="{FF2B5EF4-FFF2-40B4-BE49-F238E27FC236}">
                  <a16:creationId xmlns:a16="http://schemas.microsoft.com/office/drawing/2014/main" id="{C40D55D2-1E39-4DCF-A85D-B4135B558307}"/>
                </a:ext>
              </a:extLst>
            </p:cNvPr>
            <p:cNvSpPr/>
            <p:nvPr/>
          </p:nvSpPr>
          <p:spPr>
            <a:xfrm>
              <a:off x="339177" y="2305566"/>
              <a:ext cx="121352" cy="121352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D5191FFD-9C33-495A-8BE4-08D8C46C5A46}"/>
                </a:ext>
              </a:extLst>
            </p:cNvPr>
            <p:cNvSpPr txBox="1"/>
            <p:nvPr/>
          </p:nvSpPr>
          <p:spPr>
            <a:xfrm>
              <a:off x="460529" y="2244890"/>
              <a:ext cx="676244" cy="253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RA</a:t>
              </a: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B1D8E0F-6C58-4B6F-AEBC-D433A0BC8F4B}"/>
              </a:ext>
            </a:extLst>
          </p:cNvPr>
          <p:cNvGrpSpPr/>
          <p:nvPr/>
        </p:nvGrpSpPr>
        <p:grpSpPr>
          <a:xfrm>
            <a:off x="161367" y="3543551"/>
            <a:ext cx="1286120" cy="230832"/>
            <a:chOff x="339177" y="1917273"/>
            <a:chExt cx="1331582" cy="253849"/>
          </a:xfrm>
        </p:grpSpPr>
        <p:sp>
          <p:nvSpPr>
            <p:cNvPr id="49" name="Rectangle: Rounded Corners 52">
              <a:extLst>
                <a:ext uri="{FF2B5EF4-FFF2-40B4-BE49-F238E27FC236}">
                  <a16:creationId xmlns:a16="http://schemas.microsoft.com/office/drawing/2014/main" id="{30F124A0-4A01-4539-8B6E-485FF47BB5DD}"/>
                </a:ext>
              </a:extLst>
            </p:cNvPr>
            <p:cNvSpPr/>
            <p:nvPr/>
          </p:nvSpPr>
          <p:spPr>
            <a:xfrm>
              <a:off x="339177" y="1975830"/>
              <a:ext cx="121352" cy="121352"/>
            </a:xfrm>
            <a:prstGeom prst="roundRect">
              <a:avLst/>
            </a:prstGeom>
            <a:solidFill>
              <a:srgbClr val="00B050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FC10EA7-3057-4214-A70C-8AE03FBFA29D}"/>
                </a:ext>
              </a:extLst>
            </p:cNvPr>
            <p:cNvSpPr txBox="1"/>
            <p:nvPr/>
          </p:nvSpPr>
          <p:spPr>
            <a:xfrm>
              <a:off x="460528" y="1917273"/>
              <a:ext cx="1210231" cy="253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LP1-RA</a:t>
              </a: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79EA2B0D-8F0D-4BF6-84B5-1C07638CDD19}"/>
              </a:ext>
            </a:extLst>
          </p:cNvPr>
          <p:cNvSpPr txBox="1"/>
          <p:nvPr/>
        </p:nvSpPr>
        <p:spPr>
          <a:xfrm>
            <a:off x="11178367" y="4016954"/>
            <a:ext cx="524503" cy="276999"/>
          </a:xfrm>
          <a:prstGeom prst="rect">
            <a:avLst/>
          </a:prstGeom>
          <a:solidFill>
            <a:srgbClr val="FFFFFF"/>
          </a:solidFill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3F4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4</a:t>
            </a:r>
          </a:p>
        </p:txBody>
      </p:sp>
      <p:sp>
        <p:nvSpPr>
          <p:cNvPr id="53" name="Rectangle: Rounded Corners 75">
            <a:extLst>
              <a:ext uri="{FF2B5EF4-FFF2-40B4-BE49-F238E27FC236}">
                <a16:creationId xmlns:a16="http://schemas.microsoft.com/office/drawing/2014/main" id="{3F01C5F3-098B-47D0-9A1E-C08F22338916}"/>
              </a:ext>
            </a:extLst>
          </p:cNvPr>
          <p:cNvSpPr/>
          <p:nvPr/>
        </p:nvSpPr>
        <p:spPr>
          <a:xfrm>
            <a:off x="10235815" y="4633058"/>
            <a:ext cx="1460379" cy="327358"/>
          </a:xfrm>
          <a:prstGeom prst="roundRect">
            <a:avLst>
              <a:gd name="adj" fmla="val 50000"/>
            </a:avLst>
          </a:prstGeom>
          <a:solidFill>
            <a:srgbClr val="E1003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A-KIDNEY</a:t>
            </a:r>
          </a:p>
        </p:txBody>
      </p:sp>
      <p:sp>
        <p:nvSpPr>
          <p:cNvPr id="54" name="Rectangle: Rounded Corners 75">
            <a:extLst>
              <a:ext uri="{FF2B5EF4-FFF2-40B4-BE49-F238E27FC236}">
                <a16:creationId xmlns:a16="http://schemas.microsoft.com/office/drawing/2014/main" id="{3F01C5F3-098B-47D0-9A1E-C08F22338916}"/>
              </a:ext>
            </a:extLst>
          </p:cNvPr>
          <p:cNvSpPr/>
          <p:nvPr/>
        </p:nvSpPr>
        <p:spPr>
          <a:xfrm>
            <a:off x="10394919" y="2979536"/>
            <a:ext cx="1460379" cy="327358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OW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136AF49B-5AAE-44ED-A2BC-B5B54F9068A1}"/>
              </a:ext>
            </a:extLst>
          </p:cNvPr>
          <p:cNvGrpSpPr/>
          <p:nvPr/>
        </p:nvGrpSpPr>
        <p:grpSpPr>
          <a:xfrm>
            <a:off x="151700" y="5227474"/>
            <a:ext cx="1286120" cy="230832"/>
            <a:chOff x="339177" y="1917273"/>
            <a:chExt cx="1331582" cy="253849"/>
          </a:xfrm>
        </p:grpSpPr>
        <p:sp>
          <p:nvSpPr>
            <p:cNvPr id="59" name="Rectangle: Rounded Corners 52">
              <a:extLst>
                <a:ext uri="{FF2B5EF4-FFF2-40B4-BE49-F238E27FC236}">
                  <a16:creationId xmlns:a16="http://schemas.microsoft.com/office/drawing/2014/main" id="{7C2DEC1F-783A-4CA5-A071-60B9C7CF7386}"/>
                </a:ext>
              </a:extLst>
            </p:cNvPr>
            <p:cNvSpPr/>
            <p:nvPr/>
          </p:nvSpPr>
          <p:spPr>
            <a:xfrm>
              <a:off x="339177" y="1975830"/>
              <a:ext cx="121352" cy="121352"/>
            </a:xfrm>
            <a:prstGeom prst="roundRect">
              <a:avLst/>
            </a:prstGeom>
            <a:solidFill>
              <a:srgbClr val="E1003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C38C704-7E82-4E2E-99EE-8B48DE400936}"/>
                </a:ext>
              </a:extLst>
            </p:cNvPr>
            <p:cNvSpPr txBox="1"/>
            <p:nvPr/>
          </p:nvSpPr>
          <p:spPr>
            <a:xfrm>
              <a:off x="460528" y="1917273"/>
              <a:ext cx="1210231" cy="253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GLT2 inhibitor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524F909-BB10-4E55-B8F7-8F6CE3B77A04}"/>
              </a:ext>
            </a:extLst>
          </p:cNvPr>
          <p:cNvGrpSpPr/>
          <p:nvPr/>
        </p:nvGrpSpPr>
        <p:grpSpPr>
          <a:xfrm>
            <a:off x="151700" y="4931861"/>
            <a:ext cx="770365" cy="230832"/>
            <a:chOff x="339177" y="2244890"/>
            <a:chExt cx="797596" cy="253849"/>
          </a:xfrm>
        </p:grpSpPr>
        <p:sp>
          <p:nvSpPr>
            <p:cNvPr id="62" name="Rectangle: Rounded Corners 57">
              <a:extLst>
                <a:ext uri="{FF2B5EF4-FFF2-40B4-BE49-F238E27FC236}">
                  <a16:creationId xmlns:a16="http://schemas.microsoft.com/office/drawing/2014/main" id="{C40D55D2-1E39-4DCF-A85D-B4135B558307}"/>
                </a:ext>
              </a:extLst>
            </p:cNvPr>
            <p:cNvSpPr/>
            <p:nvPr/>
          </p:nvSpPr>
          <p:spPr>
            <a:xfrm>
              <a:off x="339177" y="2305566"/>
              <a:ext cx="121352" cy="121352"/>
            </a:xfrm>
            <a:prstGeom prst="roundRect">
              <a:avLst/>
            </a:prstGeom>
            <a:solidFill>
              <a:schemeClr val="accent4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D5191FFD-9C33-495A-8BE4-08D8C46C5A46}"/>
                </a:ext>
              </a:extLst>
            </p:cNvPr>
            <p:cNvSpPr txBox="1"/>
            <p:nvPr/>
          </p:nvSpPr>
          <p:spPr>
            <a:xfrm>
              <a:off x="460529" y="2244890"/>
              <a:ext cx="676244" cy="2538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RA</a:t>
              </a:r>
            </a:p>
          </p:txBody>
        </p:sp>
      </p:grpSp>
      <p:sp>
        <p:nvSpPr>
          <p:cNvPr id="64" name="Rectangle: Rounded Corners 75">
            <a:extLst>
              <a:ext uri="{FF2B5EF4-FFF2-40B4-BE49-F238E27FC236}">
                <a16:creationId xmlns:a16="http://schemas.microsoft.com/office/drawing/2014/main" id="{E96ABF50-6B4E-4AB5-82BD-D6046FE97C8B}"/>
              </a:ext>
            </a:extLst>
          </p:cNvPr>
          <p:cNvSpPr/>
          <p:nvPr/>
        </p:nvSpPr>
        <p:spPr>
          <a:xfrm>
            <a:off x="9510951" y="3721075"/>
            <a:ext cx="1529921" cy="327358"/>
          </a:xfrm>
          <a:prstGeom prst="roundRect">
            <a:avLst>
              <a:gd name="adj" fmla="val 50000"/>
            </a:avLst>
          </a:prstGeom>
          <a:solidFill>
            <a:srgbClr val="9C629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GARO-DKD</a:t>
            </a:r>
          </a:p>
        </p:txBody>
      </p:sp>
    </p:spTree>
    <p:extLst>
      <p:ext uri="{BB962C8B-B14F-4D97-AF65-F5344CB8AC3E}">
        <p14:creationId xmlns:p14="http://schemas.microsoft.com/office/powerpoint/2010/main" val="22355529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554" name="Rectangle 23">
            <a:extLst>
              <a:ext uri="{FF2B5EF4-FFF2-40B4-BE49-F238E27FC236}">
                <a16:creationId xmlns:a16="http://schemas.microsoft.com/office/drawing/2014/main" id="{D5C6D8A5-6988-46D4-AD01-21ACE2CF7E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5450" y="6397626"/>
            <a:ext cx="85344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 marL="173038" indent="-173038">
              <a:spcBef>
                <a:spcPct val="20000"/>
              </a:spcBef>
              <a:buClr>
                <a:schemeClr val="hlink"/>
              </a:buClr>
              <a:buSzPct val="90000"/>
              <a:buFont typeface="Wingdings" panose="05000000000000000000" pitchFamily="2" charset="2"/>
              <a:buBlip>
                <a:blip r:embed="rId2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 pitchFamily="2" charset="2"/>
              <a:buBlip>
                <a:blip r:embed="rId3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4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4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4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4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4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3038" marR="0" lvl="0" indent="-17303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+mn-cs"/>
              </a:rPr>
              <a:t>SGLT, sodium-glucose co-transporter. </a:t>
            </a:r>
          </a:p>
          <a:p>
            <a:pPr marL="173038" marR="0" lvl="0" indent="-17303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+mn-cs"/>
              </a:rPr>
              <a:t>Wright EM.</a:t>
            </a:r>
            <a:r>
              <a:rPr kumimoji="0" lang="en-US" altLang="da-DK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</a:t>
            </a:r>
            <a:r>
              <a:rPr kumimoji="0" lang="en-US" altLang="zh-CN" sz="7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+mn-cs"/>
              </a:rPr>
              <a:t>Am J Physiol Renal Physiol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+mn-cs"/>
              </a:rPr>
              <a:t> 2001;</a:t>
            </a:r>
            <a:r>
              <a:rPr kumimoji="0" lang="en-US" altLang="zh-CN" sz="7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+mn-cs"/>
              </a:rPr>
              <a:t>280</a:t>
            </a:r>
            <a:r>
              <a:rPr kumimoji="0" lang="en-US" altLang="zh-CN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+mn-cs"/>
              </a:rPr>
              <a:t>:F10–18 og Bailey and Day; SGLT2 inhibitors: glucoretic treatment for type 2 diabetes.Br J Diabetes Vasc Dis 2012;10:193-99. </a:t>
            </a:r>
          </a:p>
        </p:txBody>
      </p:sp>
      <p:grpSp>
        <p:nvGrpSpPr>
          <p:cNvPr id="535555" name="Group 29">
            <a:extLst>
              <a:ext uri="{FF2B5EF4-FFF2-40B4-BE49-F238E27FC236}">
                <a16:creationId xmlns:a16="http://schemas.microsoft.com/office/drawing/2014/main" id="{5670E12C-8828-430D-A870-29087F95E291}"/>
              </a:ext>
            </a:extLst>
          </p:cNvPr>
          <p:cNvGrpSpPr>
            <a:grpSpLocks/>
          </p:cNvGrpSpPr>
          <p:nvPr/>
        </p:nvGrpSpPr>
        <p:grpSpPr bwMode="auto">
          <a:xfrm>
            <a:off x="1698626" y="989014"/>
            <a:ext cx="8482013" cy="4872037"/>
            <a:chOff x="174116" y="989567"/>
            <a:chExt cx="8483173" cy="4871458"/>
          </a:xfrm>
        </p:grpSpPr>
        <p:pic>
          <p:nvPicPr>
            <p:cNvPr id="535557" name="Picture 13" descr="04.png">
              <a:extLst>
                <a:ext uri="{FF2B5EF4-FFF2-40B4-BE49-F238E27FC236}">
                  <a16:creationId xmlns:a16="http://schemas.microsoft.com/office/drawing/2014/main" id="{1F03CBAA-53C8-4D5A-AAAF-9D310F06F4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46219" y="3491069"/>
              <a:ext cx="1444633" cy="10728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5558" name="Picture 19" descr="07.png">
              <a:extLst>
                <a:ext uri="{FF2B5EF4-FFF2-40B4-BE49-F238E27FC236}">
                  <a16:creationId xmlns:a16="http://schemas.microsoft.com/office/drawing/2014/main" id="{8F19133E-73C9-44A0-825E-A7EE63189F4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36285" y="4123202"/>
              <a:ext cx="1078903" cy="1438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5559" name="Picture 18" descr="05.png">
              <a:extLst>
                <a:ext uri="{FF2B5EF4-FFF2-40B4-BE49-F238E27FC236}">
                  <a16:creationId xmlns:a16="http://schemas.microsoft.com/office/drawing/2014/main" id="{C955622E-663A-4D52-AF55-963F701441E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1204" y="2328628"/>
              <a:ext cx="359634" cy="1438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5560" name="Picture 2" descr="kidney_revised.png">
              <a:extLst>
                <a:ext uri="{FF2B5EF4-FFF2-40B4-BE49-F238E27FC236}">
                  <a16:creationId xmlns:a16="http://schemas.microsoft.com/office/drawing/2014/main" id="{82DEBE3A-AFCA-4A3D-8BDF-BE57356BF5E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4116" y="989567"/>
              <a:ext cx="1995152" cy="20153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535561" name="Group 39">
              <a:extLst>
                <a:ext uri="{FF2B5EF4-FFF2-40B4-BE49-F238E27FC236}">
                  <a16:creationId xmlns:a16="http://schemas.microsoft.com/office/drawing/2014/main" id="{2A8E3E33-6BC7-467A-A813-C07902483F6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43784" y="2690873"/>
              <a:ext cx="452199" cy="822017"/>
              <a:chOff x="1602175" y="2626425"/>
              <a:chExt cx="452199" cy="822017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442DB821-89B3-4E29-9D0A-7C34B93B7B67}"/>
                  </a:ext>
                </a:extLst>
              </p:cNvPr>
              <p:cNvSpPr/>
              <p:nvPr/>
            </p:nvSpPr>
            <p:spPr>
              <a:xfrm>
                <a:off x="1602681" y="2626717"/>
                <a:ext cx="155596" cy="92064"/>
              </a:xfrm>
              <a:prstGeom prst="rect">
                <a:avLst/>
              </a:prstGeom>
              <a:solidFill>
                <a:srgbClr val="00A5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28" name="Shape 30">
                <a:extLst>
                  <a:ext uri="{FF2B5EF4-FFF2-40B4-BE49-F238E27FC236}">
                    <a16:creationId xmlns:a16="http://schemas.microsoft.com/office/drawing/2014/main" id="{C95B54CA-4183-41E2-BC71-CED4A24037C0}"/>
                  </a:ext>
                </a:extLst>
              </p:cNvPr>
              <p:cNvCxnSpPr/>
              <p:nvPr/>
            </p:nvCxnSpPr>
            <p:spPr>
              <a:xfrm rot="16200000" flipV="1">
                <a:off x="1501955" y="2897306"/>
                <a:ext cx="730163" cy="373113"/>
              </a:xfrm>
              <a:prstGeom prst="bentConnector3">
                <a:avLst>
                  <a:gd name="adj1" fmla="val 1236"/>
                </a:avLst>
              </a:prstGeom>
              <a:ln w="381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5562" name="Group 55">
              <a:extLst>
                <a:ext uri="{FF2B5EF4-FFF2-40B4-BE49-F238E27FC236}">
                  <a16:creationId xmlns:a16="http://schemas.microsoft.com/office/drawing/2014/main" id="{BB589FE7-49AB-479F-B89F-21A9F056B2C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83669" y="4035618"/>
              <a:ext cx="1263823" cy="876196"/>
              <a:chOff x="241949" y="2985384"/>
              <a:chExt cx="1263823" cy="876196"/>
            </a:xfrm>
          </p:grpSpPr>
          <p:pic>
            <p:nvPicPr>
              <p:cNvPr id="535574" name="Picture 3">
                <a:extLst>
                  <a:ext uri="{FF2B5EF4-FFF2-40B4-BE49-F238E27FC236}">
                    <a16:creationId xmlns:a16="http://schemas.microsoft.com/office/drawing/2014/main" id="{42C29BE6-2503-4161-A62A-34DE3B173C0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742" t="61320" r="68671" b="28535"/>
              <a:stretch>
                <a:fillRect/>
              </a:stretch>
            </p:blipFill>
            <p:spPr bwMode="auto">
              <a:xfrm>
                <a:off x="325174" y="3132773"/>
                <a:ext cx="504056" cy="5760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4" name="Round Diagonal Corner Rectangle 8">
                <a:extLst>
                  <a:ext uri="{FF2B5EF4-FFF2-40B4-BE49-F238E27FC236}">
                    <a16:creationId xmlns:a16="http://schemas.microsoft.com/office/drawing/2014/main" id="{09EF2241-FDFF-4DD3-AABE-86ECF2FA9D27}"/>
                  </a:ext>
                </a:extLst>
              </p:cNvPr>
              <p:cNvSpPr/>
              <p:nvPr/>
            </p:nvSpPr>
            <p:spPr>
              <a:xfrm rot="16200000">
                <a:off x="435763" y="2791570"/>
                <a:ext cx="876196" cy="1263823"/>
              </a:xfrm>
              <a:prstGeom prst="round2DiagRect">
                <a:avLst/>
              </a:prstGeom>
              <a:noFill/>
              <a:ln w="28575">
                <a:solidFill>
                  <a:srgbClr val="00B8EA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5576" name="TextBox 9">
                <a:extLst>
                  <a:ext uri="{FF2B5EF4-FFF2-40B4-BE49-F238E27FC236}">
                    <a16:creationId xmlns:a16="http://schemas.microsoft.com/office/drawing/2014/main" id="{831097EB-16AD-4600-A266-B60F2B5257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6984" y="3131416"/>
                <a:ext cx="539004" cy="2615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chemeClr val="hlink"/>
                  </a:buClr>
                  <a:buSzPct val="90000"/>
                  <a:buFont typeface="Wingdings" panose="05000000000000000000" pitchFamily="2" charset="2"/>
                  <a:buBlip>
                    <a:blip r:embed="rId2"/>
                  </a:buBlip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2"/>
                  </a:buClr>
                  <a:buSzPct val="90000"/>
                  <a:buFont typeface="Wingdings" panose="05000000000000000000" pitchFamily="2" charset="2"/>
                  <a:buBlip>
                    <a:blip r:embed="rId3"/>
                  </a:buBlip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4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4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4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4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4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GB" altLang="da-DK" sz="1100" b="0" i="1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55"/>
                    <a:ea typeface="ＭＳ Ｐゴシック" panose="020B0600070205080204" pitchFamily="34" charset="-128"/>
                    <a:cs typeface="+mn-cs"/>
                  </a:rPr>
                  <a:t>SGLT2</a:t>
                </a:r>
              </a:p>
            </p:txBody>
          </p:sp>
          <p:sp>
            <p:nvSpPr>
              <p:cNvPr id="535577" name="TextBox 10">
                <a:extLst>
                  <a:ext uri="{FF2B5EF4-FFF2-40B4-BE49-F238E27FC236}">
                    <a16:creationId xmlns:a16="http://schemas.microsoft.com/office/drawing/2014/main" id="{8D35DAEA-3BC0-4FF1-8E0F-91971A5050B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2220" y="3461577"/>
                <a:ext cx="636800" cy="2615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chemeClr val="hlink"/>
                  </a:buClr>
                  <a:buSzPct val="90000"/>
                  <a:buFont typeface="Wingdings" panose="05000000000000000000" pitchFamily="2" charset="2"/>
                  <a:buBlip>
                    <a:blip r:embed="rId2"/>
                  </a:buBlip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chemeClr val="accent2"/>
                  </a:buClr>
                  <a:buSzPct val="90000"/>
                  <a:buFont typeface="Wingdings" panose="05000000000000000000" pitchFamily="2" charset="2"/>
                  <a:buBlip>
                    <a:blip r:embed="rId3"/>
                  </a:buBlip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4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4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4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4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SzPct val="90000"/>
                  <a:buFont typeface="Wingdings" panose="05000000000000000000" pitchFamily="2" charset="2"/>
                  <a:buBlip>
                    <a:blip r:embed="rId4"/>
                  </a:buBlip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Wingdings" panose="05000000000000000000" pitchFamily="2" charset="2"/>
                  <a:buNone/>
                  <a:tabLst/>
                  <a:defRPr/>
                </a:pPr>
                <a:r>
                  <a:rPr kumimoji="0" lang="en-GB" altLang="da-DK" sz="1100" b="0" i="1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venir 55"/>
                    <a:ea typeface="ＭＳ Ｐゴシック" panose="020B0600070205080204" pitchFamily="34" charset="-128"/>
                    <a:cs typeface="+mn-cs"/>
                  </a:rPr>
                  <a:t>Glukose</a:t>
                </a:r>
              </a:p>
            </p:txBody>
          </p:sp>
        </p:grpSp>
        <p:pic>
          <p:nvPicPr>
            <p:cNvPr id="535563" name="Picture 11" descr="02.png">
              <a:extLst>
                <a:ext uri="{FF2B5EF4-FFF2-40B4-BE49-F238E27FC236}">
                  <a16:creationId xmlns:a16="http://schemas.microsoft.com/office/drawing/2014/main" id="{16378C63-0F34-421B-8DDA-5E200A4B9B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3648" y="2276872"/>
              <a:ext cx="7253641" cy="35841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5564" name="Picture 12" descr="01.png">
              <a:extLst>
                <a:ext uri="{FF2B5EF4-FFF2-40B4-BE49-F238E27FC236}">
                  <a16:creationId xmlns:a16="http://schemas.microsoft.com/office/drawing/2014/main" id="{853AC8DC-E9DB-483A-A8C1-208AC5C5B9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3176"/>
            <a:stretch>
              <a:fillRect/>
            </a:stretch>
          </p:blipFill>
          <p:spPr bwMode="auto">
            <a:xfrm>
              <a:off x="1531771" y="2352858"/>
              <a:ext cx="2680189" cy="24442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35565" name="TextBox 14">
              <a:extLst>
                <a:ext uri="{FF2B5EF4-FFF2-40B4-BE49-F238E27FC236}">
                  <a16:creationId xmlns:a16="http://schemas.microsoft.com/office/drawing/2014/main" id="{3CE19A22-4CC6-49D9-A40C-96A36F51E03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59832" y="1812099"/>
              <a:ext cx="1988041" cy="4308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2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3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altLang="da-DK" sz="1100" b="1" i="1" u="none" strike="noStrike" kern="1200" cap="none" spc="0" normalizeH="0" baseline="0" noProof="0">
                  <a:ln>
                    <a:noFill/>
                  </a:ln>
                  <a:solidFill>
                    <a:srgbClr val="EF4130"/>
                  </a:solidFill>
                  <a:effectLst/>
                  <a:uLnTx/>
                  <a:uFillTx/>
                  <a:latin typeface="Avenir 55"/>
                  <a:ea typeface="ＭＳ Ｐゴシック" panose="020B0600070205080204" pitchFamily="34" charset="-128"/>
                  <a:cs typeface="+mn-cs"/>
                </a:rPr>
                <a:t>Det meste af glukosen  reabsorberes af SGLT2 (90%)</a:t>
              </a:r>
            </a:p>
          </p:txBody>
        </p:sp>
        <p:sp>
          <p:nvSpPr>
            <p:cNvPr id="535566" name="TextBox 15">
              <a:extLst>
                <a:ext uri="{FF2B5EF4-FFF2-40B4-BE49-F238E27FC236}">
                  <a16:creationId xmlns:a16="http://schemas.microsoft.com/office/drawing/2014/main" id="{1D9F5254-7B75-4506-B795-8811440512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54265" y="3789039"/>
              <a:ext cx="1140212" cy="2615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2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45720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4572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3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4572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4572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da-DK" sz="1100" b="0" i="1" u="none" strike="noStrike" kern="1200" cap="none" spc="0" normalizeH="0" baseline="0" noProof="0">
                  <a:ln>
                    <a:noFill/>
                  </a:ln>
                  <a:solidFill>
                    <a:srgbClr val="EF4130"/>
                  </a:solidFill>
                  <a:effectLst/>
                  <a:uLnTx/>
                  <a:uFillTx/>
                  <a:latin typeface="Avenir 55"/>
                  <a:ea typeface="ＭＳ Ｐゴシック" panose="020B0600070205080204" pitchFamily="34" charset="-128"/>
                  <a:cs typeface="+mn-cs"/>
                </a:rPr>
                <a:t>Proximal tubulus</a:t>
              </a:r>
            </a:p>
          </p:txBody>
        </p:sp>
        <p:sp>
          <p:nvSpPr>
            <p:cNvPr id="535567" name="Rectangle 16">
              <a:extLst>
                <a:ext uri="{FF2B5EF4-FFF2-40B4-BE49-F238E27FC236}">
                  <a16:creationId xmlns:a16="http://schemas.microsoft.com/office/drawing/2014/main" id="{55AB2A74-B908-4633-9E26-A7E0243342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18644" y="4306501"/>
              <a:ext cx="1584176" cy="6000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2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3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altLang="da-DK" sz="1100" b="0" i="1" u="none" strike="noStrike" kern="1200" cap="none" spc="0" normalizeH="0" baseline="0" noProof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rPr>
                <a:t>Overskydende glukose  reabsorberes af SGLT1 (10%)</a:t>
              </a:r>
            </a:p>
          </p:txBody>
        </p:sp>
        <p:sp>
          <p:nvSpPr>
            <p:cNvPr id="535568" name="TextBox 17">
              <a:extLst>
                <a:ext uri="{FF2B5EF4-FFF2-40B4-BE49-F238E27FC236}">
                  <a16:creationId xmlns:a16="http://schemas.microsoft.com/office/drawing/2014/main" id="{76DFBAC7-A8B6-4B68-B6CA-E880442053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63998" y="4438273"/>
              <a:ext cx="1392378" cy="4308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457200"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2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45720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4572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3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4572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4572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da-DK" sz="1100" b="0" i="1" u="none" strike="noStrike" kern="1200" cap="none" spc="0" normalizeH="0" baseline="0" noProof="0">
                  <a:ln>
                    <a:noFill/>
                  </a:ln>
                  <a:solidFill>
                    <a:srgbClr val="EF4130"/>
                  </a:solidFill>
                  <a:effectLst/>
                  <a:uLnTx/>
                  <a:uFillTx/>
                  <a:latin typeface="Avenir 55"/>
                  <a:ea typeface="ＭＳ Ｐゴシック" panose="020B0600070205080204" pitchFamily="34" charset="-128"/>
                  <a:cs typeface="+mn-cs"/>
                </a:rPr>
                <a:t>Minimal til ingen glukoseekskretion</a:t>
              </a:r>
            </a:p>
          </p:txBody>
        </p:sp>
        <p:pic>
          <p:nvPicPr>
            <p:cNvPr id="535569" name="Picture 20" descr="06.png">
              <a:extLst>
                <a:ext uri="{FF2B5EF4-FFF2-40B4-BE49-F238E27FC236}">
                  <a16:creationId xmlns:a16="http://schemas.microsoft.com/office/drawing/2014/main" id="{29D4B793-D766-4003-BB3F-677F0E37CB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40980" y="4195210"/>
              <a:ext cx="359634" cy="10789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35570" name="TextBox 21">
              <a:extLst>
                <a:ext uri="{FF2B5EF4-FFF2-40B4-BE49-F238E27FC236}">
                  <a16:creationId xmlns:a16="http://schemas.microsoft.com/office/drawing/2014/main" id="{D46C969A-F646-4E78-A89A-EB6B94DD81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37441" y="5079381"/>
              <a:ext cx="681690" cy="4308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57200"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2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45720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4572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3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4572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4572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da-DK" sz="1100" b="0" i="1" u="none" strike="noStrike" kern="1200" cap="none" spc="0" normalizeH="0" baseline="0" noProof="0">
                  <a:ln>
                    <a:noFill/>
                  </a:ln>
                  <a:solidFill>
                    <a:srgbClr val="EF4130"/>
                  </a:solidFill>
                  <a:effectLst/>
                  <a:uLnTx/>
                  <a:uFillTx/>
                  <a:latin typeface="Avenir 55"/>
                  <a:ea typeface="ＭＳ Ｐゴシック" panose="020B0600070205080204" pitchFamily="34" charset="-128"/>
                  <a:cs typeface="+mn-cs"/>
                </a:rPr>
                <a:t>Glukose-</a:t>
              </a:r>
            </a:p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altLang="da-DK" sz="1100" b="0" i="1" u="none" strike="noStrike" kern="1200" cap="none" spc="0" normalizeH="0" baseline="0" noProof="0">
                  <a:ln>
                    <a:noFill/>
                  </a:ln>
                  <a:solidFill>
                    <a:srgbClr val="EF4130"/>
                  </a:solidFill>
                  <a:effectLst/>
                  <a:uLnTx/>
                  <a:uFillTx/>
                  <a:latin typeface="Avenir 55"/>
                  <a:ea typeface="ＭＳ Ｐゴシック" panose="020B0600070205080204" pitchFamily="34" charset="-128"/>
                  <a:cs typeface="+mn-cs"/>
                </a:rPr>
                <a:t>filtration</a:t>
              </a:r>
            </a:p>
          </p:txBody>
        </p:sp>
        <p:pic>
          <p:nvPicPr>
            <p:cNvPr id="535571" name="Picture 3">
              <a:extLst>
                <a:ext uri="{FF2B5EF4-FFF2-40B4-BE49-F238E27FC236}">
                  <a16:creationId xmlns:a16="http://schemas.microsoft.com/office/drawing/2014/main" id="{1CFA6870-C612-4D73-9527-460FF47C1D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742" t="61320" r="68671" b="34875"/>
            <a:stretch>
              <a:fillRect/>
            </a:stretch>
          </p:blipFill>
          <p:spPr bwMode="auto">
            <a:xfrm>
              <a:off x="3896594" y="3518261"/>
              <a:ext cx="396000" cy="169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5572" name="Picture 24" descr="03.png">
              <a:extLst>
                <a:ext uri="{FF2B5EF4-FFF2-40B4-BE49-F238E27FC236}">
                  <a16:creationId xmlns:a16="http://schemas.microsoft.com/office/drawing/2014/main" id="{05783434-28EB-4355-BC62-BBB13CDD9A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7383" y="4855608"/>
              <a:ext cx="792415" cy="8228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5573" name="Picture 28" descr="01.png">
              <a:extLst>
                <a:ext uri="{FF2B5EF4-FFF2-40B4-BE49-F238E27FC236}">
                  <a16:creationId xmlns:a16="http://schemas.microsoft.com/office/drawing/2014/main" id="{FBC9EBB7-C5CA-4938-A364-4AEA6C4D8B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199" t="50081"/>
            <a:stretch>
              <a:fillRect/>
            </a:stretch>
          </p:blipFill>
          <p:spPr bwMode="auto">
            <a:xfrm>
              <a:off x="4628115" y="3576994"/>
              <a:ext cx="914493" cy="12201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57051" name="Rectangle 3">
            <a:extLst>
              <a:ext uri="{FF2B5EF4-FFF2-40B4-BE49-F238E27FC236}">
                <a16:creationId xmlns:a16="http://schemas.microsoft.com/office/drawing/2014/main" id="{5C5E7FBD-FEC0-4A61-AA5B-53E790D87156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981200" y="277814"/>
            <a:ext cx="8229600" cy="750887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r>
              <a:rPr lang="en-US" altLang="da-DK" sz="4100">
                <a:solidFill>
                  <a:schemeClr val="tx1"/>
                </a:solidFill>
                <a:cs typeface="Arial" pitchFamily="34" charset="0"/>
              </a:rPr>
              <a:t>SGLT-2 hæmmere</a:t>
            </a:r>
            <a:r>
              <a:rPr lang="en-US" altLang="da-DK" sz="4100" baseline="30000">
                <a:solidFill>
                  <a:schemeClr val="tx1"/>
                </a:solidFill>
                <a:cs typeface="Arial" pitchFamily="34" charset="0"/>
              </a:rPr>
              <a:t> </a:t>
            </a:r>
            <a:endParaRPr lang="en-US" altLang="da-DK" sz="410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5879264"/>
      </p:ext>
    </p:extLst>
  </p:cSld>
  <p:clrMapOvr>
    <a:masterClrMapping/>
  </p:clrMapOvr>
  <p:transition spd="slow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14.png">
            <a:extLst>
              <a:ext uri="{FF2B5EF4-FFF2-40B4-BE49-F238E27FC236}">
                <a16:creationId xmlns:a16="http://schemas.microsoft.com/office/drawing/2014/main" id="{54D9095E-8F83-4D76-92F3-0D65E7E511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7289" y="3279775"/>
            <a:ext cx="1438275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07.png">
            <a:extLst>
              <a:ext uri="{FF2B5EF4-FFF2-40B4-BE49-F238E27FC236}">
                <a16:creationId xmlns:a16="http://schemas.microsoft.com/office/drawing/2014/main" id="{53202734-7419-49A9-8808-436658BC07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9850" y="3305176"/>
            <a:ext cx="1079500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36580" name="Picture 5" descr="05.png">
            <a:extLst>
              <a:ext uri="{FF2B5EF4-FFF2-40B4-BE49-F238E27FC236}">
                <a16:creationId xmlns:a16="http://schemas.microsoft.com/office/drawing/2014/main" id="{D7AF1BB4-FBCD-4B47-9FA9-A39D8B6963A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5439" y="1511301"/>
            <a:ext cx="358775" cy="143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6581" name="Title 1">
            <a:extLst>
              <a:ext uri="{FF2B5EF4-FFF2-40B4-BE49-F238E27FC236}">
                <a16:creationId xmlns:a16="http://schemas.microsoft.com/office/drawing/2014/main" id="{DE58DC4C-5490-42D8-B91A-AB69D52297E3}"/>
              </a:ext>
            </a:extLst>
          </p:cNvPr>
          <p:cNvSpPr txBox="1">
            <a:spLocks/>
          </p:cNvSpPr>
          <p:nvPr/>
        </p:nvSpPr>
        <p:spPr bwMode="auto">
          <a:xfrm>
            <a:off x="1843089" y="301626"/>
            <a:ext cx="7272337" cy="74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anose="05000000000000000000" pitchFamily="2" charset="2"/>
              <a:buBlip>
                <a:blip r:embed="rId5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 pitchFamily="2" charset="2"/>
              <a:buBlip>
                <a:blip r:embed="rId6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da-DK" sz="2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SGLT2 hæmning: Insulinuafhængig mekanisme, der fjerner overskydende glukose via urinen</a:t>
            </a:r>
          </a:p>
        </p:txBody>
      </p:sp>
      <p:pic>
        <p:nvPicPr>
          <p:cNvPr id="536582" name="Picture 7" descr="02.png">
            <a:extLst>
              <a:ext uri="{FF2B5EF4-FFF2-40B4-BE49-F238E27FC236}">
                <a16:creationId xmlns:a16="http://schemas.microsoft.com/office/drawing/2014/main" id="{0ABD6745-D51D-4477-80B2-5A4322EA78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350" y="1458914"/>
            <a:ext cx="7253288" cy="358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01.png">
            <a:extLst>
              <a:ext uri="{FF2B5EF4-FFF2-40B4-BE49-F238E27FC236}">
                <a16:creationId xmlns:a16="http://schemas.microsoft.com/office/drawing/2014/main" id="{168D3850-4B67-42EC-83CA-560D0A2D8E0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152"/>
          <a:stretch>
            <a:fillRect/>
          </a:stretch>
        </p:blipFill>
        <p:spPr bwMode="auto">
          <a:xfrm>
            <a:off x="3055939" y="1535113"/>
            <a:ext cx="2319337" cy="244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6584" name="TextBox 9">
            <a:extLst>
              <a:ext uri="{FF2B5EF4-FFF2-40B4-BE49-F238E27FC236}">
                <a16:creationId xmlns:a16="http://schemas.microsoft.com/office/drawing/2014/main" id="{46BDDC16-026D-452B-B563-031582EB5F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78259" y="2971800"/>
            <a:ext cx="114005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lr>
                <a:schemeClr val="hlink"/>
              </a:buClr>
              <a:buSzPct val="90000"/>
              <a:buFont typeface="Wingdings" panose="05000000000000000000" pitchFamily="2" charset="2"/>
              <a:buBlip>
                <a:blip r:embed="rId5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 pitchFamily="2" charset="2"/>
              <a:buBlip>
                <a:blip r:embed="rId6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da-DK" sz="1100" b="0" i="1" u="none" strike="noStrike" kern="1200" cap="none" spc="0" normalizeH="0" baseline="0" noProof="0">
                <a:ln>
                  <a:noFill/>
                </a:ln>
                <a:solidFill>
                  <a:srgbClr val="EF4130"/>
                </a:solidFill>
                <a:effectLst/>
                <a:uLnTx/>
                <a:uFillTx/>
                <a:latin typeface="Avenir 55"/>
                <a:ea typeface="ＭＳ Ｐゴシック" panose="020B0600070205080204" pitchFamily="34" charset="-128"/>
                <a:cs typeface="+mn-cs"/>
              </a:rPr>
              <a:t>Proximal tubulus</a:t>
            </a:r>
          </a:p>
        </p:txBody>
      </p:sp>
      <p:pic>
        <p:nvPicPr>
          <p:cNvPr id="536585" name="Picture 10" descr="06.png">
            <a:extLst>
              <a:ext uri="{FF2B5EF4-FFF2-40B4-BE49-F238E27FC236}">
                <a16:creationId xmlns:a16="http://schemas.microsoft.com/office/drawing/2014/main" id="{309289B4-B2E0-4A16-81E2-FC5A273CD73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5539" y="3376613"/>
            <a:ext cx="358775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6586" name="TextBox 11">
            <a:extLst>
              <a:ext uri="{FF2B5EF4-FFF2-40B4-BE49-F238E27FC236}">
                <a16:creationId xmlns:a16="http://schemas.microsoft.com/office/drawing/2014/main" id="{96F128DA-681B-4B3A-8A9C-22E16C5301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61252" y="4260851"/>
            <a:ext cx="681597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lr>
                <a:schemeClr val="hlink"/>
              </a:buClr>
              <a:buSzPct val="90000"/>
              <a:buFont typeface="Wingdings" panose="05000000000000000000" pitchFamily="2" charset="2"/>
              <a:buBlip>
                <a:blip r:embed="rId5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 pitchFamily="2" charset="2"/>
              <a:buBlip>
                <a:blip r:embed="rId6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da-DK" sz="1100" b="0" i="1" u="none" strike="noStrike" kern="1200" cap="none" spc="0" normalizeH="0" baseline="0" noProof="0">
                <a:ln>
                  <a:noFill/>
                </a:ln>
                <a:solidFill>
                  <a:srgbClr val="EF4130"/>
                </a:solidFill>
                <a:effectLst/>
                <a:uLnTx/>
                <a:uFillTx/>
                <a:latin typeface="Avenir 55"/>
                <a:ea typeface="ＭＳ Ｐゴシック" panose="020B0600070205080204" pitchFamily="34" charset="-128"/>
                <a:cs typeface="+mn-cs"/>
              </a:rPr>
              <a:t>Glukose-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da-DK" sz="1100" b="0" i="1" u="none" strike="noStrike" kern="1200" cap="none" spc="0" normalizeH="0" baseline="0" noProof="0">
                <a:ln>
                  <a:noFill/>
                </a:ln>
                <a:solidFill>
                  <a:srgbClr val="EF4130"/>
                </a:solidFill>
                <a:effectLst/>
                <a:uLnTx/>
                <a:uFillTx/>
                <a:latin typeface="Avenir 55"/>
                <a:ea typeface="ＭＳ Ｐゴシック" panose="020B0600070205080204" pitchFamily="34" charset="-128"/>
                <a:cs typeface="+mn-cs"/>
              </a:rPr>
              <a:t>filtration</a:t>
            </a:r>
          </a:p>
        </p:txBody>
      </p:sp>
      <p:sp>
        <p:nvSpPr>
          <p:cNvPr id="536587" name="Rectangle 12">
            <a:extLst>
              <a:ext uri="{FF2B5EF4-FFF2-40B4-BE49-F238E27FC236}">
                <a16:creationId xmlns:a16="http://schemas.microsoft.com/office/drawing/2014/main" id="{F29473B9-4AF6-47F8-B877-127A033389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93863" y="6400801"/>
            <a:ext cx="69516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>
            <a:spAutoFit/>
          </a:bodyPr>
          <a:lstStyle>
            <a:lvl1pPr>
              <a:spcBef>
                <a:spcPct val="20000"/>
              </a:spcBef>
              <a:buClr>
                <a:schemeClr val="hlink"/>
              </a:buClr>
              <a:buSzPct val="90000"/>
              <a:buFont typeface="Wingdings" panose="05000000000000000000" pitchFamily="2" charset="2"/>
              <a:buBlip>
                <a:blip r:embed="rId5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 pitchFamily="2" charset="2"/>
              <a:buBlip>
                <a:blip r:embed="rId6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zh-CN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SimSun" panose="02010600030101010101" pitchFamily="2" charset="-122"/>
                <a:cs typeface="+mn-cs"/>
              </a:rPr>
              <a:t>*Increases urinary volume by only ~1 additional void/day (~375 mL/day) in a 12-week study of healthy subjects and patients with Type 2 diabetes.</a:t>
            </a:r>
            <a:endParaRPr kumimoji="0" lang="en-GB" altLang="zh-CN" sz="700" b="0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SimSun" panose="02010600030101010101" pitchFamily="2" charset="-122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da-DK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SGLT2 inhibitors: glucuretic treatment for type 2 diabetes; Diabetes Met;2010;193-9</a:t>
            </a:r>
            <a:r>
              <a:rPr kumimoji="0" lang="en-GB" altLang="da-DK" sz="7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 </a:t>
            </a:r>
            <a:r>
              <a:rPr kumimoji="0" lang="en-GB" altLang="da-DK" sz="7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og Forxiga produktresume</a:t>
            </a:r>
          </a:p>
        </p:txBody>
      </p:sp>
      <p:sp>
        <p:nvSpPr>
          <p:cNvPr id="536588" name="Content Placeholder 3">
            <a:extLst>
              <a:ext uri="{FF2B5EF4-FFF2-40B4-BE49-F238E27FC236}">
                <a16:creationId xmlns:a16="http://schemas.microsoft.com/office/drawing/2014/main" id="{A794D8FA-70D9-408C-A85E-E9A53621AB17}"/>
              </a:ext>
            </a:extLst>
          </p:cNvPr>
          <p:cNvSpPr txBox="1">
            <a:spLocks/>
          </p:cNvSpPr>
          <p:nvPr/>
        </p:nvSpPr>
        <p:spPr bwMode="auto">
          <a:xfrm>
            <a:off x="1955801" y="5157788"/>
            <a:ext cx="81121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95263" indent="-195263" defTabSz="457200">
              <a:spcBef>
                <a:spcPct val="20000"/>
              </a:spcBef>
              <a:buClr>
                <a:schemeClr val="hlink"/>
              </a:buClr>
              <a:buSzPct val="90000"/>
              <a:buFont typeface="Wingdings" panose="05000000000000000000" pitchFamily="2" charset="2"/>
              <a:buBlip>
                <a:blip r:embed="rId5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 pitchFamily="2" charset="2"/>
              <a:buBlip>
                <a:blip r:embed="rId6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95263" marR="0" lvl="0" indent="-195263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EF4135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GB" altLang="da-DK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t>SGLT2-hæmmere hæmmer selektivt SGLT2 i de proximale tubuli</a:t>
            </a:r>
            <a:endParaRPr kumimoji="0" lang="en-GB" alt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1959B7E-79CA-48F7-AF00-FD9B8D1CE1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40638" y="1109664"/>
            <a:ext cx="55746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lr>
                <a:schemeClr val="hlink"/>
              </a:buClr>
              <a:buSzPct val="90000"/>
              <a:buFont typeface="Wingdings" panose="05000000000000000000" pitchFamily="2" charset="2"/>
              <a:buBlip>
                <a:blip r:embed="rId5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 pitchFamily="2" charset="2"/>
              <a:buBlip>
                <a:blip r:embed="rId6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da-DK" sz="1200" b="0" i="1" u="none" strike="noStrike" kern="1200" cap="none" spc="0" normalizeH="0" baseline="0" noProof="0">
                <a:ln>
                  <a:noFill/>
                </a:ln>
                <a:solidFill>
                  <a:srgbClr val="EF4130"/>
                </a:solidFill>
                <a:effectLst/>
                <a:uLnTx/>
                <a:uFillTx/>
                <a:latin typeface="Avenir 55"/>
                <a:ea typeface="ＭＳ Ｐゴシック" panose="020B0600070205080204" pitchFamily="34" charset="-128"/>
                <a:cs typeface="+mn-cs"/>
              </a:rPr>
              <a:t>SGLT2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C7DE022-2CAF-424E-8E1C-4629467A04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69050" y="1627189"/>
            <a:ext cx="64402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lr>
                <a:schemeClr val="hlink"/>
              </a:buClr>
              <a:buSzPct val="90000"/>
              <a:buFont typeface="Wingdings" panose="05000000000000000000" pitchFamily="2" charset="2"/>
              <a:buBlip>
                <a:blip r:embed="rId5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 pitchFamily="2" charset="2"/>
              <a:buBlip>
                <a:blip r:embed="rId6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da-DK" sz="1200" b="0" i="1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venir 55"/>
                <a:ea typeface="ＭＳ Ｐゴシック" panose="020B0600070205080204" pitchFamily="34" charset="-128"/>
                <a:cs typeface="+mn-cs"/>
              </a:rPr>
              <a:t>Forxiga</a:t>
            </a:r>
          </a:p>
        </p:txBody>
      </p:sp>
      <p:pic>
        <p:nvPicPr>
          <p:cNvPr id="17" name="Picture 16" descr="inset.png">
            <a:extLst>
              <a:ext uri="{FF2B5EF4-FFF2-40B4-BE49-F238E27FC236}">
                <a16:creationId xmlns:a16="http://schemas.microsoft.com/office/drawing/2014/main" id="{A5A73714-D6D9-4AE0-A4D1-ACB3E6756EA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9763" y="1082676"/>
            <a:ext cx="1985962" cy="142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7" descr="09.png">
            <a:extLst>
              <a:ext uri="{FF2B5EF4-FFF2-40B4-BE49-F238E27FC236}">
                <a16:creationId xmlns:a16="http://schemas.microsoft.com/office/drawing/2014/main" id="{0364A245-E9AA-4190-8A58-CD424C394ED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826" y="2305051"/>
            <a:ext cx="993775" cy="993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8" descr="12.png">
            <a:extLst>
              <a:ext uri="{FF2B5EF4-FFF2-40B4-BE49-F238E27FC236}">
                <a16:creationId xmlns:a16="http://schemas.microsoft.com/office/drawing/2014/main" id="{9A98BF65-2D48-426F-8AA7-AC0F5AA66CF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9463" y="5840413"/>
            <a:ext cx="2159000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 descr="11.png">
            <a:extLst>
              <a:ext uri="{FF2B5EF4-FFF2-40B4-BE49-F238E27FC236}">
                <a16:creationId xmlns:a16="http://schemas.microsoft.com/office/drawing/2014/main" id="{17773FDE-B73A-4584-ADCF-45FA5C13523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0289" y="2898775"/>
            <a:ext cx="1665287" cy="3524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267F54EF-9200-417D-8225-17E6F00FE5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94563" y="4300538"/>
            <a:ext cx="2087562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lr>
                <a:schemeClr val="hlink"/>
              </a:buClr>
              <a:buSzPct val="90000"/>
              <a:buFont typeface="Wingdings" panose="05000000000000000000" pitchFamily="2" charset="2"/>
              <a:buBlip>
                <a:blip r:embed="rId5"/>
              </a:buBlip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lr>
                <a:schemeClr val="accent2"/>
              </a:buClr>
              <a:buSzPct val="90000"/>
              <a:buFont typeface="Wingdings" panose="05000000000000000000" pitchFamily="2" charset="2"/>
              <a:buBlip>
                <a:blip r:embed="rId6"/>
              </a:buBlip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Wingdings" panose="05000000000000000000" pitchFamily="2" charset="2"/>
              <a:buBlip>
                <a:blip r:embed="rId7"/>
              </a:buBlip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da-DK" sz="1200" b="0" i="1" u="none" strike="noStrike" kern="1200" cap="none" spc="0" normalizeH="0" baseline="0" noProof="0">
                <a:ln>
                  <a:noFill/>
                </a:ln>
                <a:solidFill>
                  <a:srgbClr val="EF4130"/>
                </a:solidFill>
                <a:effectLst/>
                <a:uLnTx/>
                <a:uFillTx/>
                <a:latin typeface="Avenir 55"/>
                <a:ea typeface="ＭＳ Ｐゴシック" panose="020B0600070205080204" pitchFamily="34" charset="-128"/>
                <a:cs typeface="+mn-cs"/>
              </a:rPr>
              <a:t>Øget glukosuri grundet overskydende glukose (~70 g/dag, eller 280 kcal/dag*)</a:t>
            </a:r>
          </a:p>
        </p:txBody>
      </p:sp>
      <p:grpSp>
        <p:nvGrpSpPr>
          <p:cNvPr id="2" name="Group 21">
            <a:extLst>
              <a:ext uri="{FF2B5EF4-FFF2-40B4-BE49-F238E27FC236}">
                <a16:creationId xmlns:a16="http://schemas.microsoft.com/office/drawing/2014/main" id="{94D8F863-8561-4AAE-AFE8-B43F9DDBF75D}"/>
              </a:ext>
            </a:extLst>
          </p:cNvPr>
          <p:cNvGrpSpPr>
            <a:grpSpLocks/>
          </p:cNvGrpSpPr>
          <p:nvPr/>
        </p:nvGrpSpPr>
        <p:grpSpPr bwMode="auto">
          <a:xfrm>
            <a:off x="5311776" y="1547814"/>
            <a:ext cx="542925" cy="1438275"/>
            <a:chOff x="3788538" y="1548166"/>
            <a:chExt cx="542499" cy="1438537"/>
          </a:xfrm>
        </p:grpSpPr>
        <p:pic>
          <p:nvPicPr>
            <p:cNvPr id="536608" name="Picture 22" descr="13.png">
              <a:extLst>
                <a:ext uri="{FF2B5EF4-FFF2-40B4-BE49-F238E27FC236}">
                  <a16:creationId xmlns:a16="http://schemas.microsoft.com/office/drawing/2014/main" id="{AC0DFD24-25E8-4CD5-87CE-1F51AC9A3F2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88538" y="1548166"/>
              <a:ext cx="542499" cy="14385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6609" name="Picture 23" descr="16.png">
              <a:extLst>
                <a:ext uri="{FF2B5EF4-FFF2-40B4-BE49-F238E27FC236}">
                  <a16:creationId xmlns:a16="http://schemas.microsoft.com/office/drawing/2014/main" id="{B16D95DE-EA47-4A3D-82CA-43610DC3C3A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9172" y="1709434"/>
              <a:ext cx="359634" cy="359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36610" name="Picture 24" descr="17.png">
              <a:extLst>
                <a:ext uri="{FF2B5EF4-FFF2-40B4-BE49-F238E27FC236}">
                  <a16:creationId xmlns:a16="http://schemas.microsoft.com/office/drawing/2014/main" id="{F1B546B8-30E5-4125-A7EA-A2BCF9B759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6424" y="2060848"/>
              <a:ext cx="359634" cy="3596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536597" name="Picture 3">
            <a:extLst>
              <a:ext uri="{FF2B5EF4-FFF2-40B4-BE49-F238E27FC236}">
                <a16:creationId xmlns:a16="http://schemas.microsoft.com/office/drawing/2014/main" id="{31C535C4-488B-429B-929D-F4F334FC3E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42" t="61320" r="68671" b="34875"/>
          <a:stretch>
            <a:fillRect/>
          </a:stretch>
        </p:blipFill>
        <p:spPr bwMode="auto">
          <a:xfrm>
            <a:off x="5421314" y="2700338"/>
            <a:ext cx="395287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6" descr="16.png">
            <a:extLst>
              <a:ext uri="{FF2B5EF4-FFF2-40B4-BE49-F238E27FC236}">
                <a16:creationId xmlns:a16="http://schemas.microsoft.com/office/drawing/2014/main" id="{68B773CA-9CBD-4A48-BAB5-1BDE733558E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188" y="2492376"/>
            <a:ext cx="360362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7" descr="15.png">
            <a:extLst>
              <a:ext uri="{FF2B5EF4-FFF2-40B4-BE49-F238E27FC236}">
                <a16:creationId xmlns:a16="http://schemas.microsoft.com/office/drawing/2014/main" id="{2075F996-4BC8-4752-9863-BD6DB0B7AC9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3713" y="2754313"/>
            <a:ext cx="36036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8" descr="10.png">
            <a:extLst>
              <a:ext uri="{FF2B5EF4-FFF2-40B4-BE49-F238E27FC236}">
                <a16:creationId xmlns:a16="http://schemas.microsoft.com/office/drawing/2014/main" id="{B9B4AB11-8B46-47F1-A653-3B810332CF64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063"/>
          <a:stretch>
            <a:fillRect/>
          </a:stretch>
        </p:blipFill>
        <p:spPr bwMode="auto">
          <a:xfrm>
            <a:off x="5519738" y="2373313"/>
            <a:ext cx="792162" cy="1560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9" descr="16.png">
            <a:extLst>
              <a:ext uri="{FF2B5EF4-FFF2-40B4-BE49-F238E27FC236}">
                <a16:creationId xmlns:a16="http://schemas.microsoft.com/office/drawing/2014/main" id="{41C215A4-2447-482F-B47E-C0E5CE7D227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1318619">
            <a:off x="4367213" y="2446339"/>
            <a:ext cx="360362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30" descr="16.png">
            <a:extLst>
              <a:ext uri="{FF2B5EF4-FFF2-40B4-BE49-F238E27FC236}">
                <a16:creationId xmlns:a16="http://schemas.microsoft.com/office/drawing/2014/main" id="{25E898E4-E314-4AE6-8769-BC9842E39399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702411">
            <a:off x="4029870" y="2597945"/>
            <a:ext cx="35877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36603" name="Group 31">
            <a:extLst>
              <a:ext uri="{FF2B5EF4-FFF2-40B4-BE49-F238E27FC236}">
                <a16:creationId xmlns:a16="http://schemas.microsoft.com/office/drawing/2014/main" id="{97CB02EA-B7C7-47A8-BDC7-D348AB2B8D59}"/>
              </a:ext>
            </a:extLst>
          </p:cNvPr>
          <p:cNvGrpSpPr>
            <a:grpSpLocks/>
          </p:cNvGrpSpPr>
          <p:nvPr/>
        </p:nvGrpSpPr>
        <p:grpSpPr bwMode="auto">
          <a:xfrm>
            <a:off x="1635125" y="3860801"/>
            <a:ext cx="1739900" cy="1141413"/>
            <a:chOff x="178475" y="2193482"/>
            <a:chExt cx="1498104" cy="1140746"/>
          </a:xfrm>
        </p:grpSpPr>
        <p:pic>
          <p:nvPicPr>
            <p:cNvPr id="536604" name="Picture 32" descr="legend.png">
              <a:extLst>
                <a:ext uri="{FF2B5EF4-FFF2-40B4-BE49-F238E27FC236}">
                  <a16:creationId xmlns:a16="http://schemas.microsoft.com/office/drawing/2014/main" id="{18FE6EF8-924D-4567-A770-73480A731EFB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475" y="2193482"/>
              <a:ext cx="1498104" cy="11407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36605" name="TextBox 33">
              <a:extLst>
                <a:ext uri="{FF2B5EF4-FFF2-40B4-BE49-F238E27FC236}">
                  <a16:creationId xmlns:a16="http://schemas.microsoft.com/office/drawing/2014/main" id="{D7745EF4-AFD1-42B4-A4AA-EA0C0A7D3EC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8210" y="2625531"/>
              <a:ext cx="464034" cy="261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5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6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altLang="da-DK" sz="11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55"/>
                  <a:ea typeface="ＭＳ Ｐゴシック" panose="020B0600070205080204" pitchFamily="34" charset="-128"/>
                  <a:cs typeface="+mn-cs"/>
                </a:rPr>
                <a:t>SGLT2</a:t>
              </a:r>
            </a:p>
          </p:txBody>
        </p:sp>
        <p:sp>
          <p:nvSpPr>
            <p:cNvPr id="536606" name="TextBox 34">
              <a:extLst>
                <a:ext uri="{FF2B5EF4-FFF2-40B4-BE49-F238E27FC236}">
                  <a16:creationId xmlns:a16="http://schemas.microsoft.com/office/drawing/2014/main" id="{82EE80C1-081F-48E7-90A8-95EB64C146C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2877" y="2955487"/>
              <a:ext cx="548228" cy="261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5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6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altLang="da-DK" sz="11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55"/>
                  <a:ea typeface="ＭＳ Ｐゴシック" panose="020B0600070205080204" pitchFamily="34" charset="-128"/>
                  <a:cs typeface="+mn-cs"/>
                </a:rPr>
                <a:t>Glukose</a:t>
              </a:r>
            </a:p>
          </p:txBody>
        </p:sp>
        <p:sp>
          <p:nvSpPr>
            <p:cNvPr id="536607" name="TextBox 35">
              <a:extLst>
                <a:ext uri="{FF2B5EF4-FFF2-40B4-BE49-F238E27FC236}">
                  <a16:creationId xmlns:a16="http://schemas.microsoft.com/office/drawing/2014/main" id="{6FBFAF3A-1845-4D4B-B413-F56429400F9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4868" y="2299782"/>
              <a:ext cx="493019" cy="2460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chemeClr val="hlink"/>
                </a:buClr>
                <a:buSzPct val="90000"/>
                <a:buFont typeface="Wingdings" panose="05000000000000000000" pitchFamily="2" charset="2"/>
                <a:buBlip>
                  <a:blip r:embed="rId5"/>
                </a:buBlip>
                <a:defRPr sz="3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chemeClr val="accent2"/>
                </a:buClr>
                <a:buSzPct val="90000"/>
                <a:buFont typeface="Wingdings" panose="05000000000000000000" pitchFamily="2" charset="2"/>
                <a:buBlip>
                  <a:blip r:embed="rId6"/>
                </a:buBlip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folHlink"/>
                </a:buClr>
                <a:buSzPct val="90000"/>
                <a:buFont typeface="Wingdings" panose="05000000000000000000" pitchFamily="2" charset="2"/>
                <a:buBlip>
                  <a:blip r:embed="rId7"/>
                </a:buBlip>
                <a:defRPr sz="20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GB" altLang="da-DK" sz="1000" b="0" i="1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55"/>
                  <a:ea typeface="ＭＳ Ｐゴシック" panose="020B0600070205080204" pitchFamily="34" charset="-128"/>
                  <a:cs typeface="Arial" panose="020B0604020202020204" pitchFamily="34" charset="0"/>
                </a:rPr>
                <a:t>SGLT2-i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63921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53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4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1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2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Footer Placeholder 3"/>
          <p:cNvSpPr>
            <a:spLocks noGrp="1"/>
          </p:cNvSpPr>
          <p:nvPr>
            <p:ph type="ftr" idx="10"/>
          </p:nvPr>
        </p:nvSpPr>
        <p:spPr>
          <a:xfrm>
            <a:off x="1524000" y="5994400"/>
            <a:ext cx="7677150" cy="863600"/>
          </a:xfrm>
          <a:prstGeom prst="rect">
            <a:avLst/>
          </a:prstGeom>
          <a:noFill/>
          <a:ln>
            <a:noFill/>
            <a:miter lim="800000"/>
          </a:ln>
        </p:spPr>
        <p:txBody>
          <a:bodyPr vert="horz" lIns="180000" tIns="0" rIns="180000" bIns="0" rtlCol="0" anchor="ctr" anchorCtr="0">
            <a:noAutofit/>
          </a:bodyPr>
          <a:lstStyle>
            <a:lvl1pPr marL="342900" indent="-3429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en-US" altLang="en-US" sz="16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–"/>
              <a:defRPr kumimoji="0" lang="en-US" altLang="en-US" sz="14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defRPr kumimoji="0" lang="en-US" altLang="en-US" sz="12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–"/>
              <a:defRPr kumimoji="0" lang="en-US" altLang="en-US" sz="12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»"/>
              <a:defRPr kumimoji="0" lang="en-US" altLang="en-US" sz="1100" b="0" i="0" u="non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altLang="en-US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000" b="0" i="1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Nephrology Dialysis Transplantation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, Volume 34, Issue 2, February 2019, Pages 208–230, </a:t>
            </a:r>
            <a:r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ＭＳ Ｐゴシック"/>
                <a:cs typeface="Arial"/>
                <a:hlinkClick r:id="rId3"/>
              </a:rPr>
              <a:t>https://doi.org/10.1093/ndt/gfy407</a:t>
            </a:r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800" b="0" i="0" u="none" strike="noStrike" kern="1200" cap="none" spc="0" normalizeH="0" baseline="0" noProof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The content of this slide may be subject to copyright: please see the slide notes for details.</a:t>
            </a:r>
            <a:endParaRPr kumimoji="0" lang="en-US" altLang="en-US" sz="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/>
              <a:ea typeface="ＭＳ Ｐゴシック"/>
              <a:cs typeface="Arial"/>
            </a:endParaRPr>
          </a:p>
        </p:txBody>
      </p:sp>
      <p:sp>
        <p:nvSpPr>
          <p:cNvPr id="5123" name="Title 1"/>
          <p:cNvSpPr>
            <a:spLocks noGrp="1"/>
          </p:cNvSpPr>
          <p:nvPr>
            <p:ph type="title"/>
          </p:nvPr>
        </p:nvSpPr>
        <p:spPr>
          <a:xfrm>
            <a:off x="1981200" y="425451"/>
            <a:ext cx="6108700" cy="612775"/>
          </a:xfrm>
          <a:prstGeom prst="rect">
            <a:avLst/>
          </a:prstGeom>
          <a:noFill/>
          <a:ln>
            <a:miter lim="800000"/>
          </a:ln>
        </p:spPr>
        <p:txBody>
          <a:bodyPr vert="horz" wrap="square" lIns="0" tIns="0" rIns="0" bIns="0" anchor="t" anchorCtr="0">
            <a:noAutofit/>
          </a:bodyPr>
          <a:lstStyle>
            <a:lvl1pPr marL="0" indent="0" algn="l" defTabSz="914400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lang="en-US" altLang="en-US" sz="1600" b="1" i="0" u="none" kern="1200" baseline="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1600" b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1600" b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1600" b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1600" b="1">
                <a:solidFill>
                  <a:schemeClr val="tx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lang="en-US" altLang="en-US" sz="4400">
                <a:solidFill>
                  <a:schemeClr val="tx1"/>
                </a:solidFill>
                <a:latin typeface="Times New Roman" panose="02020603050405020304" pitchFamily="18" charset="0"/>
                <a:ea typeface="ＭＳ Ｐゴシック" pitchFamily="34" charset="-128"/>
              </a:defRPr>
            </a:lvl9pPr>
          </a:lstStyle>
          <a:p>
            <a:pPr lvl="0"/>
            <a:r>
              <a:rPr lang="en-US" altLang="en-US"/>
              <a:t>FIGURE 2: </a:t>
            </a:r>
            <a:r>
              <a:rPr lang="en-US" altLang="en-US" b="0"/>
              <a:t>Actions of SGLT-2 inhibitors on the renal microcirculation in patients with DM. Under physiological ...</a:t>
            </a:r>
          </a:p>
        </p:txBody>
      </p:sp>
      <p:pic>
        <p:nvPicPr>
          <p:cNvPr id="5124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28162" y="6267450"/>
            <a:ext cx="1058862" cy="298450"/>
          </a:xfrm>
          <a:prstGeom prst="rect">
            <a:avLst/>
          </a:prstGeom>
          <a:noFill/>
          <a:ln>
            <a:noFill/>
            <a:miter lim="800000"/>
          </a:ln>
        </p:spPr>
      </p:pic>
      <p:pic>
        <p:nvPicPr>
          <p:cNvPr id="5125" name="New picture"/>
          <p:cNvPicPr/>
          <p:nvPr/>
        </p:nvPicPr>
        <p:blipFill>
          <a:blip r:embed="rId5"/>
          <a:stretch>
            <a:fillRect/>
          </a:stretch>
        </p:blipFill>
        <p:spPr>
          <a:xfrm>
            <a:off x="3124200" y="1371600"/>
            <a:ext cx="5943600" cy="2657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243635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jsook2EWTlf_TQWBOdsQ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3_Bjælke">
  <a:themeElements>
    <a:clrScheme name="Bjælke 2">
      <a:dk1>
        <a:srgbClr val="000080"/>
      </a:dk1>
      <a:lt1>
        <a:srgbClr val="FFFFFF"/>
      </a:lt1>
      <a:dk2>
        <a:srgbClr val="000099"/>
      </a:dk2>
      <a:lt2>
        <a:srgbClr val="FFFFFF"/>
      </a:lt2>
      <a:accent1>
        <a:srgbClr val="3366FF"/>
      </a:accent1>
      <a:accent2>
        <a:srgbClr val="7B46D0"/>
      </a:accent2>
      <a:accent3>
        <a:srgbClr val="AAAACA"/>
      </a:accent3>
      <a:accent4>
        <a:srgbClr val="DADADA"/>
      </a:accent4>
      <a:accent5>
        <a:srgbClr val="ADB8FF"/>
      </a:accent5>
      <a:accent6>
        <a:srgbClr val="6F3FBC"/>
      </a:accent6>
      <a:hlink>
        <a:srgbClr val="86D1EC"/>
      </a:hlink>
      <a:folHlink>
        <a:srgbClr val="45C984"/>
      </a:folHlink>
    </a:clrScheme>
    <a:fontScheme name="Bjælk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jælke 1">
        <a:dk1>
          <a:srgbClr val="1A006C"/>
        </a:dk1>
        <a:lt1>
          <a:srgbClr val="FFFFFF"/>
        </a:lt1>
        <a:dk2>
          <a:srgbClr val="000066"/>
        </a:dk2>
        <a:lt2>
          <a:srgbClr val="CCCCFF"/>
        </a:lt2>
        <a:accent1>
          <a:srgbClr val="0099CC"/>
        </a:accent1>
        <a:accent2>
          <a:srgbClr val="6600CC"/>
        </a:accent2>
        <a:accent3>
          <a:srgbClr val="AAAAB8"/>
        </a:accent3>
        <a:accent4>
          <a:srgbClr val="DADADA"/>
        </a:accent4>
        <a:accent5>
          <a:srgbClr val="AACAE2"/>
        </a:accent5>
        <a:accent6>
          <a:srgbClr val="5C00B9"/>
        </a:accent6>
        <a:hlink>
          <a:srgbClr val="9999FF"/>
        </a:hlink>
        <a:folHlink>
          <a:srgbClr val="33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jælke 2">
        <a:dk1>
          <a:srgbClr val="000080"/>
        </a:dk1>
        <a:lt1>
          <a:srgbClr val="FFFFFF"/>
        </a:lt1>
        <a:dk2>
          <a:srgbClr val="000099"/>
        </a:dk2>
        <a:lt2>
          <a:srgbClr val="FFFFFF"/>
        </a:lt2>
        <a:accent1>
          <a:srgbClr val="3366FF"/>
        </a:accent1>
        <a:accent2>
          <a:srgbClr val="7B46D0"/>
        </a:accent2>
        <a:accent3>
          <a:srgbClr val="AAAACA"/>
        </a:accent3>
        <a:accent4>
          <a:srgbClr val="DADADA"/>
        </a:accent4>
        <a:accent5>
          <a:srgbClr val="ADB8FF"/>
        </a:accent5>
        <a:accent6>
          <a:srgbClr val="6F3FBC"/>
        </a:accent6>
        <a:hlink>
          <a:srgbClr val="86D1EC"/>
        </a:hlink>
        <a:folHlink>
          <a:srgbClr val="45C98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jælke 3">
        <a:dk1>
          <a:srgbClr val="3F4873"/>
        </a:dk1>
        <a:lt1>
          <a:srgbClr val="FFFFFF"/>
        </a:lt1>
        <a:dk2>
          <a:srgbClr val="4F598D"/>
        </a:dk2>
        <a:lt2>
          <a:srgbClr val="CCECFF"/>
        </a:lt2>
        <a:accent1>
          <a:srgbClr val="0099CC"/>
        </a:accent1>
        <a:accent2>
          <a:srgbClr val="4C8470"/>
        </a:accent2>
        <a:accent3>
          <a:srgbClr val="B2B5C5"/>
        </a:accent3>
        <a:accent4>
          <a:srgbClr val="DADADA"/>
        </a:accent4>
        <a:accent5>
          <a:srgbClr val="AACAE2"/>
        </a:accent5>
        <a:accent6>
          <a:srgbClr val="447765"/>
        </a:accent6>
        <a:hlink>
          <a:srgbClr val="99CC00"/>
        </a:hlink>
        <a:folHlink>
          <a:srgbClr val="96A4C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jælke 4">
        <a:dk1>
          <a:srgbClr val="006E6B"/>
        </a:dk1>
        <a:lt1>
          <a:srgbClr val="FFFFFF"/>
        </a:lt1>
        <a:dk2>
          <a:srgbClr val="008080"/>
        </a:dk2>
        <a:lt2>
          <a:srgbClr val="E2EFCD"/>
        </a:lt2>
        <a:accent1>
          <a:srgbClr val="33CCCC"/>
        </a:accent1>
        <a:accent2>
          <a:srgbClr val="6352B8"/>
        </a:accent2>
        <a:accent3>
          <a:srgbClr val="AAC0C0"/>
        </a:accent3>
        <a:accent4>
          <a:srgbClr val="DADADA"/>
        </a:accent4>
        <a:accent5>
          <a:srgbClr val="ADE2E2"/>
        </a:accent5>
        <a:accent6>
          <a:srgbClr val="5949A6"/>
        </a:accent6>
        <a:hlink>
          <a:srgbClr val="CCFFFF"/>
        </a:hlink>
        <a:folHlink>
          <a:srgbClr val="99CC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jælke 5">
        <a:dk1>
          <a:srgbClr val="48562C"/>
        </a:dk1>
        <a:lt1>
          <a:srgbClr val="FFFFFF"/>
        </a:lt1>
        <a:dk2>
          <a:srgbClr val="546434"/>
        </a:dk2>
        <a:lt2>
          <a:srgbClr val="FFFFCC"/>
        </a:lt2>
        <a:accent1>
          <a:srgbClr val="7B8A6E"/>
        </a:accent1>
        <a:accent2>
          <a:srgbClr val="527C3A"/>
        </a:accent2>
        <a:accent3>
          <a:srgbClr val="B3B8AE"/>
        </a:accent3>
        <a:accent4>
          <a:srgbClr val="DADADA"/>
        </a:accent4>
        <a:accent5>
          <a:srgbClr val="BFC4BA"/>
        </a:accent5>
        <a:accent6>
          <a:srgbClr val="497034"/>
        </a:accent6>
        <a:hlink>
          <a:srgbClr val="55B55E"/>
        </a:hlink>
        <a:folHlink>
          <a:srgbClr val="85B3B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jælke 6">
        <a:dk1>
          <a:srgbClr val="96B29E"/>
        </a:dk1>
        <a:lt1>
          <a:srgbClr val="FFFFFF"/>
        </a:lt1>
        <a:dk2>
          <a:srgbClr val="A5BDAC"/>
        </a:dk2>
        <a:lt2>
          <a:srgbClr val="FFFFCC"/>
        </a:lt2>
        <a:accent1>
          <a:srgbClr val="4E8880"/>
        </a:accent1>
        <a:accent2>
          <a:srgbClr val="2F71B9"/>
        </a:accent2>
        <a:accent3>
          <a:srgbClr val="CFDBD2"/>
        </a:accent3>
        <a:accent4>
          <a:srgbClr val="DADADA"/>
        </a:accent4>
        <a:accent5>
          <a:srgbClr val="B2C3C0"/>
        </a:accent5>
        <a:accent6>
          <a:srgbClr val="2A66A7"/>
        </a:accent6>
        <a:hlink>
          <a:srgbClr val="9DC0E7"/>
        </a:hlink>
        <a:folHlink>
          <a:srgbClr val="54CA8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jælke 7">
        <a:dk1>
          <a:srgbClr val="D49C00"/>
        </a:dk1>
        <a:lt1>
          <a:srgbClr val="FFFFFF"/>
        </a:lt1>
        <a:dk2>
          <a:srgbClr val="CC9900"/>
        </a:dk2>
        <a:lt2>
          <a:srgbClr val="CEBD40"/>
        </a:lt2>
        <a:accent1>
          <a:srgbClr val="CC6600"/>
        </a:accent1>
        <a:accent2>
          <a:srgbClr val="808000"/>
        </a:accent2>
        <a:accent3>
          <a:srgbClr val="E2CAAA"/>
        </a:accent3>
        <a:accent4>
          <a:srgbClr val="DADADA"/>
        </a:accent4>
        <a:accent5>
          <a:srgbClr val="E2B8AA"/>
        </a:accent5>
        <a:accent6>
          <a:srgbClr val="737300"/>
        </a:accent6>
        <a:hlink>
          <a:srgbClr val="FF9900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jælke 8">
        <a:dk1>
          <a:srgbClr val="881700"/>
        </a:dk1>
        <a:lt1>
          <a:srgbClr val="FAF9E6"/>
        </a:lt1>
        <a:dk2>
          <a:srgbClr val="990000"/>
        </a:dk2>
        <a:lt2>
          <a:srgbClr val="EADC78"/>
        </a:lt2>
        <a:accent1>
          <a:srgbClr val="FF6600"/>
        </a:accent1>
        <a:accent2>
          <a:srgbClr val="B86D52"/>
        </a:accent2>
        <a:accent3>
          <a:srgbClr val="CAAAAA"/>
        </a:accent3>
        <a:accent4>
          <a:srgbClr val="D6D5C4"/>
        </a:accent4>
        <a:accent5>
          <a:srgbClr val="FFB8AA"/>
        </a:accent5>
        <a:accent6>
          <a:srgbClr val="A66249"/>
        </a:accent6>
        <a:hlink>
          <a:srgbClr val="D78D15"/>
        </a:hlink>
        <a:folHlink>
          <a:srgbClr val="C6B37E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jælke 9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E6F5F6"/>
        </a:accent1>
        <a:accent2>
          <a:srgbClr val="A5E1A8"/>
        </a:accent2>
        <a:accent3>
          <a:srgbClr val="FFFFFF"/>
        </a:accent3>
        <a:accent4>
          <a:srgbClr val="000000"/>
        </a:accent4>
        <a:accent5>
          <a:srgbClr val="F0F9FA"/>
        </a:accent5>
        <a:accent6>
          <a:srgbClr val="95CC98"/>
        </a:accent6>
        <a:hlink>
          <a:srgbClr val="5B00B6"/>
        </a:hlink>
        <a:folHlink>
          <a:srgbClr val="34988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5_Office Theme">
  <a:themeElements>
    <a:clrScheme name="13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3_Office Theme">
      <a:majorFont>
        <a:latin typeface="Times New Roman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  <a:ea typeface="ＭＳ Ｐゴシック" panose="020B0600070205080204" pitchFamily="34" charset="-128"/>
          </a:defRPr>
        </a:defPPr>
      </a:lstStyle>
    </a:lnDef>
  </a:objectDefaults>
  <a:extraClrSchemeLst>
    <a:extraClrScheme>
      <a:clrScheme name="13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p">
  <a:themeElements>
    <a:clrScheme name="op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p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Standarddesign">
  <a:themeElements>
    <a:clrScheme name="Bambusfletværk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op">
  <a:themeElements>
    <a:clrScheme name="op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p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o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Office Theme">
  <a:themeElements>
    <a:clrScheme name="Custom 12">
      <a:dk1>
        <a:srgbClr val="001965"/>
      </a:dk1>
      <a:lt1>
        <a:sysClr val="window" lastClr="FFFFFF"/>
      </a:lt1>
      <a:dk2>
        <a:srgbClr val="001965"/>
      </a:dk2>
      <a:lt2>
        <a:srgbClr val="1C1C1C"/>
      </a:lt2>
      <a:accent1>
        <a:srgbClr val="009FDA"/>
      </a:accent1>
      <a:accent2>
        <a:srgbClr val="E0DED8"/>
      </a:accent2>
      <a:accent3>
        <a:srgbClr val="82786F"/>
      </a:accent3>
      <a:accent4>
        <a:srgbClr val="E64A0E"/>
      </a:accent4>
      <a:accent5>
        <a:srgbClr val="AEA79F"/>
      </a:accent5>
      <a:accent6>
        <a:srgbClr val="000000"/>
      </a:accent6>
      <a:hlink>
        <a:srgbClr val="0563C1"/>
      </a:hlink>
      <a:folHlink>
        <a:srgbClr val="954F72"/>
      </a:folHlink>
    </a:clrScheme>
    <a:fontScheme name="Novo Nordisk Apis">
      <a:majorFont>
        <a:latin typeface="Apis For Office"/>
        <a:ea typeface=""/>
        <a:cs typeface=""/>
      </a:majorFont>
      <a:minorFont>
        <a:latin typeface="Apis For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 anchor="ctr">
        <a:noAutofit/>
      </a:bodyPr>
      <a:lstStyle>
        <a:defPPr algn="ctr">
          <a:defRPr sz="20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C Scientific Story Deck 1 v001" id="{CF33A7F9-0D85-4D41-81F7-4178E7822BC1}" vid="{9CF83926-2BDB-42B6-AA75-80D674CD4E63}"/>
    </a:ext>
  </a:extLst>
</a:theme>
</file>

<file path=ppt/theme/theme7.xml><?xml version="1.0" encoding="utf-8"?>
<a:theme xmlns:a="http://schemas.openxmlformats.org/drawingml/2006/main" name="3_160318 ACROSS T2D template widescreen 1e">
  <a:themeElements>
    <a:clrScheme name="ACROSS T2D 160713">
      <a:dk1>
        <a:srgbClr val="5A5A5A"/>
      </a:dk1>
      <a:lt1>
        <a:srgbClr val="FFFFFF"/>
      </a:lt1>
      <a:dk2>
        <a:srgbClr val="5A5A5A"/>
      </a:dk2>
      <a:lt2>
        <a:srgbClr val="FFFFFF"/>
      </a:lt2>
      <a:accent1>
        <a:srgbClr val="6482C3"/>
      </a:accent1>
      <a:accent2>
        <a:srgbClr val="F0414B"/>
      </a:accent2>
      <a:accent3>
        <a:srgbClr val="43AC99"/>
      </a:accent3>
      <a:accent4>
        <a:srgbClr val="828282"/>
      </a:accent4>
      <a:accent5>
        <a:srgbClr val="9580B2"/>
      </a:accent5>
      <a:accent6>
        <a:srgbClr val="D2D2D2"/>
      </a:accent6>
      <a:hlink>
        <a:srgbClr val="007FFF"/>
      </a:hlink>
      <a:folHlink>
        <a:srgbClr val="007FF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6" id="{03AB1274-5B9A-5F45-A437-7E41E99D8614}" vid="{38C7085A-7B24-424E-A8DF-758716A027F9}"/>
    </a:ext>
  </a:extLst>
</a:theme>
</file>

<file path=ppt/theme/theme8.xml><?xml version="1.0" encoding="utf-8"?>
<a:theme xmlns:a="http://schemas.openxmlformats.org/drawingml/2006/main" name="2_ERA-EDTA 2020 SGLT2i CME Symposium">
  <a:themeElements>
    <a:clrScheme name="DAPA-CKD">
      <a:dk1>
        <a:srgbClr val="303A5F"/>
      </a:dk1>
      <a:lt1>
        <a:srgbClr val="FFFFFF"/>
      </a:lt1>
      <a:dk2>
        <a:srgbClr val="303A5F"/>
      </a:dk2>
      <a:lt2>
        <a:srgbClr val="FEFFFF"/>
      </a:lt2>
      <a:accent1>
        <a:srgbClr val="303A5F"/>
      </a:accent1>
      <a:accent2>
        <a:srgbClr val="64BFF6"/>
      </a:accent2>
      <a:accent3>
        <a:srgbClr val="FF7C48"/>
      </a:accent3>
      <a:accent4>
        <a:srgbClr val="FFEC72"/>
      </a:accent4>
      <a:accent5>
        <a:srgbClr val="E1003F"/>
      </a:accent5>
      <a:accent6>
        <a:srgbClr val="9C629A"/>
      </a:accent6>
      <a:hlink>
        <a:srgbClr val="303A5F"/>
      </a:hlink>
      <a:folHlink>
        <a:srgbClr val="C7C2BA"/>
      </a:folHlink>
    </a:clrScheme>
    <a:fontScheme name="tes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1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285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830051"/>
        </a:dk2>
        <a:lt2>
          <a:srgbClr val="F0AB00"/>
        </a:lt2>
        <a:accent1>
          <a:srgbClr val="830051"/>
        </a:accent1>
        <a:accent2>
          <a:srgbClr val="4B306A"/>
        </a:accent2>
        <a:accent3>
          <a:srgbClr val="FFFFFF"/>
        </a:accent3>
        <a:accent4>
          <a:srgbClr val="000000"/>
        </a:accent4>
        <a:accent5>
          <a:srgbClr val="C1AAB3"/>
        </a:accent5>
        <a:accent6>
          <a:srgbClr val="432A5F"/>
        </a:accent6>
        <a:hlink>
          <a:srgbClr val="4B306A"/>
        </a:hlink>
        <a:folHlink>
          <a:srgbClr val="C7C2B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5</TotalTime>
  <Words>1079</Words>
  <Application>Microsoft Office PowerPoint</Application>
  <PresentationFormat>Widescreen</PresentationFormat>
  <Paragraphs>165</Paragraphs>
  <Slides>26</Slides>
  <Notes>3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9</vt:i4>
      </vt:variant>
      <vt:variant>
        <vt:lpstr>Tema</vt:lpstr>
      </vt:variant>
      <vt:variant>
        <vt:i4>1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6</vt:i4>
      </vt:variant>
    </vt:vector>
  </HeadingPairs>
  <TitlesOfParts>
    <vt:vector size="48" baseType="lpstr">
      <vt:lpstr>Apis For Office</vt:lpstr>
      <vt:lpstr>Arial</vt:lpstr>
      <vt:lpstr>Avenir 55</vt:lpstr>
      <vt:lpstr>Calibri</vt:lpstr>
      <vt:lpstr>Calibri Light</vt:lpstr>
      <vt:lpstr>Century Gothic</vt:lpstr>
      <vt:lpstr>Times New Roman</vt:lpstr>
      <vt:lpstr>Verdana</vt:lpstr>
      <vt:lpstr>Wingdings</vt:lpstr>
      <vt:lpstr>Office-tema</vt:lpstr>
      <vt:lpstr>1_Office-tema</vt:lpstr>
      <vt:lpstr>op</vt:lpstr>
      <vt:lpstr>1_Standarddesign</vt:lpstr>
      <vt:lpstr>4_op</vt:lpstr>
      <vt:lpstr>1_Office Theme</vt:lpstr>
      <vt:lpstr>3_160318 ACROSS T2D template widescreen 1e</vt:lpstr>
      <vt:lpstr>2_ERA-EDTA 2020 SGLT2i CME Symposium</vt:lpstr>
      <vt:lpstr>Office Theme</vt:lpstr>
      <vt:lpstr>3_Bjælke</vt:lpstr>
      <vt:lpstr>15_Office Theme</vt:lpstr>
      <vt:lpstr>3_Office-tema</vt:lpstr>
      <vt:lpstr>think-cell Slide</vt:lpstr>
      <vt:lpstr>Kronisk nyresygdom Johan V Povlsen, Nyresygdomme, AUH</vt:lpstr>
      <vt:lpstr>Klassifikation af albuminuri</vt:lpstr>
      <vt:lpstr>CKD-klassifikation</vt:lpstr>
      <vt:lpstr>CKD in T2D: a growing disease population  with a complex prognosis</vt:lpstr>
      <vt:lpstr>PowerPoint-præsentation</vt:lpstr>
      <vt:lpstr>Clinical trials in chronic kidney disease</vt:lpstr>
      <vt:lpstr>SGLT-2 hæmmere </vt:lpstr>
      <vt:lpstr>PowerPoint-præsentation</vt:lpstr>
      <vt:lpstr>FIGURE 2: Actions of SGLT-2 inhibitors on the renal microcirculation in patients with DM. Under physiological ...</vt:lpstr>
      <vt:lpstr>Progression of renal disease; Treatment has improved, but…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re-specified sub-groups:</vt:lpstr>
      <vt:lpstr>Other subgroups</vt:lpstr>
      <vt:lpstr>Other subgroups</vt:lpstr>
      <vt:lpstr>Other subgroups: CKD</vt:lpstr>
      <vt:lpstr>PowerPoint-præsentation</vt:lpstr>
      <vt:lpstr>Nefrologens anbefaling I: SGLT2 hæmmer</vt:lpstr>
      <vt:lpstr>PowerPoint-præsentation</vt:lpstr>
      <vt:lpstr>PowerPoint-præsentation</vt:lpstr>
      <vt:lpstr>DM2: Farmakologisk behandling af BT og albuminuri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betisk nyresygdom</dc:title>
  <dc:creator>Johan Povlsen</dc:creator>
  <cp:lastModifiedBy>Gert Sund</cp:lastModifiedBy>
  <cp:revision>32</cp:revision>
  <dcterms:created xsi:type="dcterms:W3CDTF">2023-04-25T18:11:56Z</dcterms:created>
  <dcterms:modified xsi:type="dcterms:W3CDTF">2024-06-07T07:23:40Z</dcterms:modified>
</cp:coreProperties>
</file>